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6.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5.xml" ContentType="application/vnd.openxmlformats-officedocument.presentationml.slide+xml"/>
  <Override PartName="/ppt/slides/slide11.xml" ContentType="application/vnd.openxmlformats-officedocument.presentationml.slide+xml"/>
  <Override PartName="/ppt/slides/slide3.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12.xml" ContentType="application/vnd.openxmlformats-officedocument.presentationml.slide+xml"/>
  <Override PartName="/ppt/slides/slide4.xml" ContentType="application/vnd.openxmlformats-officedocument.presentationml.slide+xml"/>
  <Override PartName="/ppt/slideMasters/slideMaster1.xml" ContentType="application/vnd.openxmlformats-officedocument.presentationml.slideMaster+xml"/>
  <Override PartName="/ppt/notesSlides/notesSlide11.xml" ContentType="application/vnd.openxmlformats-officedocument.presentationml.notesSlide+xml"/>
  <Override PartName="/ppt/slideMasters/slideMaster2.xml" ContentType="application/vnd.openxmlformats-officedocument.presentationml.slideMaster+xml"/>
  <Override PartName="/ppt/notesSlides/notesSlide10.xml" ContentType="application/vnd.openxmlformats-officedocument.presentationml.notesSlide+xml"/>
  <Override PartName="/ppt/notesSlides/notesSlide12.xml" ContentType="application/vnd.openxmlformats-officedocument.presentationml.notesSlide+xml"/>
  <Override PartName="/ppt/slideLayouts/slideLayout17.xml" ContentType="application/vnd.openxmlformats-officedocument.presentationml.slideLayout+xml"/>
  <Override PartName="/ppt/notesSlides/notesSlide6.xml" ContentType="application/vnd.openxmlformats-officedocument.presentationml.notesSlide+xml"/>
  <Override PartName="/ppt/slideLayouts/slideLayout15.xml" ContentType="application/vnd.openxmlformats-officedocument.presentationml.slideLayout+xml"/>
  <Override PartName="/ppt/notesSlides/notesSlide7.xml" ContentType="application/vnd.openxmlformats-officedocument.presentationml.notesSlide+xml"/>
  <Override PartName="/ppt/notesSlides/notesSlide8.xml" ContentType="application/vnd.openxmlformats-officedocument.presentationml.notesSlide+xml"/>
  <Override PartName="/ppt/slideLayouts/slideLayout14.xml" ContentType="application/vnd.openxmlformats-officedocument.presentationml.slideLayout+xml"/>
  <Override PartName="/ppt/notesSlides/notesSlide5.xml" ContentType="application/vnd.openxmlformats-officedocument.presentationml.notesSlide+xml"/>
  <Override PartName="/ppt/notesSlides/notesSlide4.xml" ContentType="application/vnd.openxmlformats-officedocument.presentationml.notesSlide+xml"/>
  <Override PartName="/ppt/slideLayouts/slideLayout16.xml" ContentType="application/vnd.openxmlformats-officedocument.presentationml.slideLayout+xml"/>
  <Override PartName="/ppt/notesSlides/notesSlide9.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slideLayouts/slideLayout18.xml" ContentType="application/vnd.openxmlformats-officedocument.presentationml.slideLayout+xml"/>
  <Override PartName="/ppt/slideLayouts/slideLayout13.xml" ContentType="application/vnd.openxmlformats-officedocument.presentationml.slideLayout+xml"/>
  <Override PartName="/ppt/slideLayouts/slideLayout11.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12.xml" ContentType="application/vnd.openxmlformats-officedocument.presentationml.slideLayout+xml"/>
  <Override PartName="/ppt/slideLayouts/slideLayout5.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10.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1.xml" ContentType="application/vnd.openxmlformats-officedocument.theme+xml"/>
  <Override PartName="/ppt/commentAuthors.xml" ContentType="application/vnd.openxmlformats-officedocument.presentationml.commentAuthors+xml"/>
  <Override PartName="/ppt/theme/theme3.xml" ContentType="application/vnd.openxmlformats-officedocument.theme+xml"/>
  <Override PartName="/ppt/notesMasters/notesMaster1.xml" ContentType="application/vnd.openxmlformats-officedocument.presentationml.notesMaster+xml"/>
  <Override PartName="/ppt/theme/theme2.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4.xml" ContentType="application/vnd.openxmlformats-officedocument.presentationml.tags+xml"/>
  <Override PartName="/ppt/tags/tag10.xml" ContentType="application/vnd.openxmlformats-officedocument.presentationml.tags+xml"/>
  <Override PartName="/ppt/tags/tag1.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1"/>
    <p:sldMasterId id="2147483705" r:id="rId2"/>
  </p:sldMasterIdLst>
  <p:notesMasterIdLst>
    <p:notesMasterId r:id="rId15"/>
  </p:notesMasterIdLst>
  <p:sldIdLst>
    <p:sldId id="359" r:id="rId3"/>
    <p:sldId id="322" r:id="rId4"/>
    <p:sldId id="362" r:id="rId5"/>
    <p:sldId id="378" r:id="rId6"/>
    <p:sldId id="383" r:id="rId7"/>
    <p:sldId id="386" r:id="rId8"/>
    <p:sldId id="379" r:id="rId9"/>
    <p:sldId id="382" r:id="rId10"/>
    <p:sldId id="381" r:id="rId11"/>
    <p:sldId id="385" r:id="rId12"/>
    <p:sldId id="318" r:id="rId13"/>
    <p:sldId id="380" r:id="rId14"/>
  </p:sldIdLst>
  <p:sldSz cx="9144000" cy="6858000" type="screen4x3"/>
  <p:notesSz cx="6797675" cy="9874250"/>
  <p:defaultTex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UFOURG Marie" initials="" lastIdx="5" clrIdx="0"/>
  <p:cmAuthor id="1" name="toregr" initials="" lastIdx="5" clrIdx="1"/>
  <p:cmAuthor id="2" name="Benoît AUBARD" initials="BAU"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80"/>
    <a:srgbClr val="3333FF"/>
    <a:srgbClr val="969696"/>
    <a:srgbClr val="AFEFC0"/>
    <a:srgbClr val="D3B5E9"/>
    <a:srgbClr val="541426"/>
    <a:srgbClr val="00FF00"/>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047" autoAdjust="0"/>
    <p:restoredTop sz="90701" autoAdjust="0"/>
  </p:normalViewPr>
  <p:slideViewPr>
    <p:cSldViewPr>
      <p:cViewPr varScale="1">
        <p:scale>
          <a:sx n="98" d="100"/>
          <a:sy n="98" d="100"/>
        </p:scale>
        <p:origin x="-1914" y="-10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customXml" Target="../customXml/item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customXml" Target="../customXml/item4.xml"/><Relationship Id="rId5" Type="http://schemas.openxmlformats.org/officeDocument/2006/relationships/slide" Target="slides/slide3.xml"/><Relationship Id="rId15" Type="http://schemas.openxmlformats.org/officeDocument/2006/relationships/notesMaster" Target="notesMasters/notesMaster1.xml"/><Relationship Id="rId23" Type="http://schemas.openxmlformats.org/officeDocument/2006/relationships/customXml" Target="../customXml/item3.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ustomXml" Target="../customXml/item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6400" cy="493713"/>
          </a:xfrm>
          <a:prstGeom prst="rect">
            <a:avLst/>
          </a:prstGeom>
        </p:spPr>
        <p:txBody>
          <a:bodyPr vert="horz" lIns="91440" tIns="45720" rIns="91440" bIns="45720" rtlCol="0"/>
          <a:lstStyle>
            <a:lvl1pPr algn="l">
              <a:defRPr sz="1200"/>
            </a:lvl1pPr>
          </a:lstStyle>
          <a:p>
            <a:pPr>
              <a:defRPr/>
            </a:pPr>
            <a:endParaRPr lang="fr-FR"/>
          </a:p>
        </p:txBody>
      </p:sp>
      <p:sp>
        <p:nvSpPr>
          <p:cNvPr id="3" name="Espace réservé de la date 2"/>
          <p:cNvSpPr>
            <a:spLocks noGrp="1"/>
          </p:cNvSpPr>
          <p:nvPr>
            <p:ph type="dt" idx="1"/>
          </p:nvPr>
        </p:nvSpPr>
        <p:spPr>
          <a:xfrm>
            <a:off x="3849688" y="0"/>
            <a:ext cx="2946400" cy="493713"/>
          </a:xfrm>
          <a:prstGeom prst="rect">
            <a:avLst/>
          </a:prstGeom>
        </p:spPr>
        <p:txBody>
          <a:bodyPr vert="horz" lIns="91440" tIns="45720" rIns="91440" bIns="45720" rtlCol="0"/>
          <a:lstStyle>
            <a:lvl1pPr algn="r">
              <a:defRPr sz="1200"/>
            </a:lvl1pPr>
          </a:lstStyle>
          <a:p>
            <a:pPr>
              <a:defRPr/>
            </a:pPr>
            <a:fld id="{1D0B6434-E2CA-4D2F-9B13-F1A4000470C6}" type="datetimeFigureOut">
              <a:rPr lang="fr-FR"/>
              <a:pPr>
                <a:defRPr/>
              </a:pPr>
              <a:t>05/12/2011</a:t>
            </a:fld>
            <a:endParaRPr lang="fr-FR"/>
          </a:p>
        </p:txBody>
      </p:sp>
      <p:sp>
        <p:nvSpPr>
          <p:cNvPr id="4" name="Espace réservé de l'image des diapositives 3"/>
          <p:cNvSpPr>
            <a:spLocks noGrp="1" noRot="1" noChangeAspect="1"/>
          </p:cNvSpPr>
          <p:nvPr>
            <p:ph type="sldImg" idx="2"/>
          </p:nvPr>
        </p:nvSpPr>
        <p:spPr>
          <a:xfrm>
            <a:off x="931863" y="741363"/>
            <a:ext cx="4935537" cy="3702050"/>
          </a:xfrm>
          <a:prstGeom prst="rect">
            <a:avLst/>
          </a:prstGeom>
          <a:noFill/>
          <a:ln w="12700">
            <a:solidFill>
              <a:prstClr val="black"/>
            </a:solidFill>
          </a:ln>
        </p:spPr>
        <p:txBody>
          <a:bodyPr vert="horz" lIns="91440" tIns="45720" rIns="91440" bIns="45720" rtlCol="0" anchor="ctr"/>
          <a:lstStyle/>
          <a:p>
            <a:pPr lvl="0"/>
            <a:endParaRPr lang="fr-FR" noProof="0"/>
          </a:p>
        </p:txBody>
      </p:sp>
      <p:sp>
        <p:nvSpPr>
          <p:cNvPr id="5" name="Espace réservé des commentaires 4"/>
          <p:cNvSpPr>
            <a:spLocks noGrp="1"/>
          </p:cNvSpPr>
          <p:nvPr>
            <p:ph type="body" sz="quarter" idx="3"/>
          </p:nvPr>
        </p:nvSpPr>
        <p:spPr>
          <a:xfrm>
            <a:off x="679450" y="4691063"/>
            <a:ext cx="5438775" cy="4443412"/>
          </a:xfrm>
          <a:prstGeom prst="rect">
            <a:avLst/>
          </a:prstGeom>
        </p:spPr>
        <p:txBody>
          <a:bodyPr vert="horz" lIns="91440" tIns="45720" rIns="91440" bIns="45720" rtlCol="0">
            <a:normAutofit/>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FR" noProof="0"/>
          </a:p>
        </p:txBody>
      </p:sp>
      <p:sp>
        <p:nvSpPr>
          <p:cNvPr id="6" name="Espace réservé du pied de page 5"/>
          <p:cNvSpPr>
            <a:spLocks noGrp="1"/>
          </p:cNvSpPr>
          <p:nvPr>
            <p:ph type="ftr" sz="quarter" idx="4"/>
          </p:nvPr>
        </p:nvSpPr>
        <p:spPr>
          <a:xfrm>
            <a:off x="0" y="9378950"/>
            <a:ext cx="2946400" cy="493713"/>
          </a:xfrm>
          <a:prstGeom prst="rect">
            <a:avLst/>
          </a:prstGeom>
        </p:spPr>
        <p:txBody>
          <a:bodyPr vert="horz" lIns="91440" tIns="45720" rIns="91440" bIns="45720" rtlCol="0" anchor="b"/>
          <a:lstStyle>
            <a:lvl1pPr algn="l">
              <a:defRPr sz="1200"/>
            </a:lvl1pPr>
          </a:lstStyle>
          <a:p>
            <a:pPr>
              <a:defRPr/>
            </a:pPr>
            <a:endParaRPr lang="fr-FR"/>
          </a:p>
        </p:txBody>
      </p:sp>
      <p:sp>
        <p:nvSpPr>
          <p:cNvPr id="7" name="Espace réservé du numéro de diapositive 6"/>
          <p:cNvSpPr>
            <a:spLocks noGrp="1"/>
          </p:cNvSpPr>
          <p:nvPr>
            <p:ph type="sldNum" sz="quarter" idx="5"/>
          </p:nvPr>
        </p:nvSpPr>
        <p:spPr>
          <a:xfrm>
            <a:off x="3849688" y="9378950"/>
            <a:ext cx="2946400" cy="493713"/>
          </a:xfrm>
          <a:prstGeom prst="rect">
            <a:avLst/>
          </a:prstGeom>
        </p:spPr>
        <p:txBody>
          <a:bodyPr vert="horz" lIns="91440" tIns="45720" rIns="91440" bIns="45720" rtlCol="0" anchor="b"/>
          <a:lstStyle>
            <a:lvl1pPr algn="r">
              <a:defRPr sz="1200"/>
            </a:lvl1pPr>
          </a:lstStyle>
          <a:p>
            <a:pPr>
              <a:defRPr/>
            </a:pPr>
            <a:fld id="{C376B6A4-1AD0-42EC-B461-11B2D44D3428}" type="slidenum">
              <a:rPr lang="fr-FR"/>
              <a:pPr>
                <a:defRPr/>
              </a:pPr>
              <a:t>‹Nr.›</a:t>
            </a:fld>
            <a:endParaRPr lang="fr-FR"/>
          </a:p>
        </p:txBody>
      </p:sp>
    </p:spTree>
    <p:extLst>
      <p:ext uri="{BB962C8B-B14F-4D97-AF65-F5344CB8AC3E}">
        <p14:creationId xmlns:p14="http://schemas.microsoft.com/office/powerpoint/2010/main" val="147126144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2"/>
          <p:cNvSpPr>
            <a:spLocks noGrp="1" noRot="1" noChangeAspect="1" noTextEdit="1"/>
          </p:cNvSpPr>
          <p:nvPr>
            <p:ph type="sldImg"/>
          </p:nvPr>
        </p:nvSpPr>
        <p:spPr bwMode="auto">
          <a:noFill/>
          <a:ln>
            <a:solidFill>
              <a:srgbClr val="000000"/>
            </a:solidFill>
            <a:miter lim="800000"/>
            <a:headEnd/>
            <a:tailEnd/>
          </a:ln>
        </p:spPr>
      </p:sp>
      <p:sp>
        <p:nvSpPr>
          <p:cNvPr id="23554"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lnSpc>
                <a:spcPct val="80000"/>
              </a:lnSpc>
            </a:pPr>
            <a:endParaRPr lang="sv-SE" sz="80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Folienbildplatzhalter 1"/>
          <p:cNvSpPr>
            <a:spLocks noGrp="1" noRot="1" noChangeAspect="1" noTextEdit="1"/>
          </p:cNvSpPr>
          <p:nvPr>
            <p:ph type="sldImg"/>
          </p:nvPr>
        </p:nvSpPr>
        <p:spPr bwMode="auto">
          <a:noFill/>
          <a:ln>
            <a:solidFill>
              <a:srgbClr val="000000"/>
            </a:solidFill>
            <a:miter lim="800000"/>
            <a:headEnd/>
            <a:tailEnd/>
          </a:ln>
        </p:spPr>
      </p:sp>
      <p:sp>
        <p:nvSpPr>
          <p:cNvPr id="28674" name="Notizenplatzhalter 2"/>
          <p:cNvSpPr>
            <a:spLocks noGrp="1"/>
          </p:cNvSpPr>
          <p:nvPr>
            <p:ph type="body" idx="1"/>
          </p:nvPr>
        </p:nvSpPr>
        <p:spPr bwMode="auto">
          <a:noFill/>
        </p:spPr>
        <p:txBody>
          <a:bodyPr wrap="square" numCol="1" anchor="t" anchorCtr="0" compatLnSpc="1">
            <a:prstTxWarp prst="textNoShape">
              <a:avLst/>
            </a:prstTxWarp>
          </a:bodyPr>
          <a:lstStyle/>
          <a:p>
            <a:endParaRPr lang="de-DE" smtClean="0"/>
          </a:p>
        </p:txBody>
      </p:sp>
      <p:sp>
        <p:nvSpPr>
          <p:cNvPr id="28675"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5357B8FE-1670-47BD-989E-049732A7B6BD}" type="slidenum">
              <a:rPr lang="fr-FR" smtClean="0"/>
              <a:pPr/>
              <a:t>10</a:t>
            </a:fld>
            <a:endParaRPr lang="fr-FR"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Rectangle 2"/>
          <p:cNvSpPr>
            <a:spLocks noGrp="1" noRot="1" noChangeAspect="1" noTextEdit="1"/>
          </p:cNvSpPr>
          <p:nvPr>
            <p:ph type="sldImg"/>
          </p:nvPr>
        </p:nvSpPr>
        <p:spPr bwMode="auto">
          <a:noFill/>
          <a:ln>
            <a:solidFill>
              <a:srgbClr val="000000"/>
            </a:solidFill>
            <a:miter lim="800000"/>
            <a:headEnd/>
            <a:tailEnd/>
          </a:ln>
        </p:spPr>
      </p:sp>
      <p:sp>
        <p:nvSpPr>
          <p:cNvPr id="40962"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lnSpc>
                <a:spcPct val="80000"/>
              </a:lnSpc>
            </a:pPr>
            <a:endParaRPr lang="sv-SE" sz="80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2"/>
          <p:cNvSpPr>
            <a:spLocks noGrp="1" noRot="1" noChangeAspect="1" noTextEdit="1"/>
          </p:cNvSpPr>
          <p:nvPr>
            <p:ph type="sldImg"/>
          </p:nvPr>
        </p:nvSpPr>
        <p:spPr bwMode="auto">
          <a:noFill/>
          <a:ln>
            <a:solidFill>
              <a:srgbClr val="000000"/>
            </a:solidFill>
            <a:miter lim="800000"/>
            <a:headEnd/>
            <a:tailEnd/>
          </a:ln>
        </p:spPr>
      </p:sp>
      <p:sp>
        <p:nvSpPr>
          <p:cNvPr id="43010" name="Rectangle 3"/>
          <p:cNvSpPr>
            <a:spLocks noGrp="1"/>
          </p:cNvSpPr>
          <p:nvPr>
            <p:ph type="body" idx="1"/>
          </p:nvPr>
        </p:nvSpPr>
        <p:spPr bwMode="auto">
          <a:noFill/>
        </p:spPr>
        <p:txBody>
          <a:bodyPr wrap="square" numCol="1" anchor="t" anchorCtr="0" compatLnSpc="1">
            <a:prstTxWarp prst="textNoShape">
              <a:avLst/>
            </a:prstTxWarp>
          </a:bodyPr>
          <a:lstStyle/>
          <a:p>
            <a:pPr eaLnBrk="1" hangingPunct="1">
              <a:lnSpc>
                <a:spcPct val="80000"/>
              </a:lnSpc>
            </a:pPr>
            <a:endParaRPr lang="sv-SE" sz="80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en-GB"/>
          </a:p>
        </p:txBody>
      </p:sp>
      <p:sp>
        <p:nvSpPr>
          <p:cNvPr id="4" name="Espace réservé du numéro de diapositive 3"/>
          <p:cNvSpPr>
            <a:spLocks noGrp="1"/>
          </p:cNvSpPr>
          <p:nvPr>
            <p:ph type="sldNum" sz="quarter" idx="10"/>
          </p:nvPr>
        </p:nvSpPr>
        <p:spPr/>
        <p:txBody>
          <a:bodyPr/>
          <a:lstStyle/>
          <a:p>
            <a:pPr>
              <a:defRPr/>
            </a:pPr>
            <a:fld id="{C376B6A4-1AD0-42EC-B461-11B2D44D3428}" type="slidenum">
              <a:rPr lang="fr-FR" smtClean="0"/>
              <a:pPr>
                <a:defRPr/>
              </a:pPr>
              <a:t>2</a:t>
            </a:fld>
            <a:endParaRPr lang="fr-F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Folienbildplatzhalter 1"/>
          <p:cNvSpPr>
            <a:spLocks noGrp="1" noRot="1" noChangeAspect="1" noTextEdit="1"/>
          </p:cNvSpPr>
          <p:nvPr>
            <p:ph type="sldImg"/>
          </p:nvPr>
        </p:nvSpPr>
        <p:spPr bwMode="auto">
          <a:noFill/>
          <a:ln>
            <a:solidFill>
              <a:srgbClr val="000000"/>
            </a:solidFill>
            <a:miter lim="800000"/>
            <a:headEnd/>
            <a:tailEnd/>
          </a:ln>
        </p:spPr>
      </p:sp>
      <p:sp>
        <p:nvSpPr>
          <p:cNvPr id="26626" name="Notizenplatzhalter 2"/>
          <p:cNvSpPr>
            <a:spLocks noGrp="1"/>
          </p:cNvSpPr>
          <p:nvPr>
            <p:ph type="body" idx="1"/>
          </p:nvPr>
        </p:nvSpPr>
        <p:spPr bwMode="auto">
          <a:noFill/>
        </p:spPr>
        <p:txBody>
          <a:bodyPr wrap="square" numCol="1" anchor="t" anchorCtr="0" compatLnSpc="1">
            <a:prstTxWarp prst="textNoShape">
              <a:avLst/>
            </a:prstTxWarp>
          </a:bodyPr>
          <a:lstStyle/>
          <a:p>
            <a:endParaRPr lang="de-DE" smtClean="0"/>
          </a:p>
        </p:txBody>
      </p:sp>
      <p:sp>
        <p:nvSpPr>
          <p:cNvPr id="26627"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06C4C39D-86B1-49F0-921B-41FEC2CC1417}" type="slidenum">
              <a:rPr lang="fr-FR" smtClean="0"/>
              <a:pPr/>
              <a:t>3</a:t>
            </a:fld>
            <a:endParaRPr lang="fr-FR"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Folienbildplatzhalter 1"/>
          <p:cNvSpPr>
            <a:spLocks noGrp="1" noRot="1" noChangeAspect="1" noTextEdit="1"/>
          </p:cNvSpPr>
          <p:nvPr>
            <p:ph type="sldImg"/>
          </p:nvPr>
        </p:nvSpPr>
        <p:spPr bwMode="auto">
          <a:noFill/>
          <a:ln>
            <a:solidFill>
              <a:srgbClr val="000000"/>
            </a:solidFill>
            <a:miter lim="800000"/>
            <a:headEnd/>
            <a:tailEnd/>
          </a:ln>
        </p:spPr>
      </p:sp>
      <p:sp>
        <p:nvSpPr>
          <p:cNvPr id="28674" name="Notizenplatzhalter 2"/>
          <p:cNvSpPr>
            <a:spLocks noGrp="1"/>
          </p:cNvSpPr>
          <p:nvPr>
            <p:ph type="body" idx="1"/>
          </p:nvPr>
        </p:nvSpPr>
        <p:spPr bwMode="auto">
          <a:noFill/>
        </p:spPr>
        <p:txBody>
          <a:bodyPr wrap="square" numCol="1" anchor="t" anchorCtr="0" compatLnSpc="1">
            <a:prstTxWarp prst="textNoShape">
              <a:avLst/>
            </a:prstTxWarp>
          </a:bodyPr>
          <a:lstStyle/>
          <a:p>
            <a:endParaRPr lang="de-DE" smtClean="0"/>
          </a:p>
        </p:txBody>
      </p:sp>
      <p:sp>
        <p:nvSpPr>
          <p:cNvPr id="28675"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5357B8FE-1670-47BD-989E-049732A7B6BD}" type="slidenum">
              <a:rPr lang="fr-FR" smtClean="0"/>
              <a:pPr/>
              <a:t>4</a:t>
            </a:fld>
            <a:endParaRPr lang="fr-FR"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Folienbildplatzhalter 1"/>
          <p:cNvSpPr>
            <a:spLocks noGrp="1" noRot="1" noChangeAspect="1" noTextEdit="1"/>
          </p:cNvSpPr>
          <p:nvPr>
            <p:ph type="sldImg"/>
          </p:nvPr>
        </p:nvSpPr>
        <p:spPr bwMode="auto">
          <a:noFill/>
          <a:ln>
            <a:solidFill>
              <a:srgbClr val="000000"/>
            </a:solidFill>
            <a:miter lim="800000"/>
            <a:headEnd/>
            <a:tailEnd/>
          </a:ln>
        </p:spPr>
      </p:sp>
      <p:sp>
        <p:nvSpPr>
          <p:cNvPr id="30722" name="Notizenplatzhalter 2"/>
          <p:cNvSpPr>
            <a:spLocks noGrp="1"/>
          </p:cNvSpPr>
          <p:nvPr>
            <p:ph type="body" idx="1"/>
          </p:nvPr>
        </p:nvSpPr>
        <p:spPr bwMode="auto">
          <a:noFill/>
        </p:spPr>
        <p:txBody>
          <a:bodyPr wrap="square" numCol="1" anchor="t" anchorCtr="0" compatLnSpc="1">
            <a:prstTxWarp prst="textNoShape">
              <a:avLst/>
            </a:prstTxWarp>
          </a:bodyPr>
          <a:lstStyle/>
          <a:p>
            <a:endParaRPr lang="de-DE" smtClean="0"/>
          </a:p>
        </p:txBody>
      </p:sp>
      <p:sp>
        <p:nvSpPr>
          <p:cNvPr id="30723"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0C1B2AB7-F165-4812-AB28-F08AE1AB163C}" type="slidenum">
              <a:rPr lang="fr-FR" smtClean="0"/>
              <a:pPr/>
              <a:t>5</a:t>
            </a:fld>
            <a:endParaRPr lang="fr-FR"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Folienbildplatzhalter 1"/>
          <p:cNvSpPr>
            <a:spLocks noGrp="1" noRot="1" noChangeAspect="1" noTextEdit="1"/>
          </p:cNvSpPr>
          <p:nvPr>
            <p:ph type="sldImg"/>
          </p:nvPr>
        </p:nvSpPr>
        <p:spPr bwMode="auto">
          <a:noFill/>
          <a:ln>
            <a:solidFill>
              <a:srgbClr val="000000"/>
            </a:solidFill>
            <a:miter lim="800000"/>
            <a:headEnd/>
            <a:tailEnd/>
          </a:ln>
        </p:spPr>
      </p:sp>
      <p:sp>
        <p:nvSpPr>
          <p:cNvPr id="21507" name="Notizenplatzhalter 2"/>
          <p:cNvSpPr>
            <a:spLocks noGrp="1"/>
          </p:cNvSpPr>
          <p:nvPr>
            <p:ph type="body" idx="1"/>
          </p:nvPr>
        </p:nvSpPr>
        <p:spPr bwMode="auto">
          <a:noFill/>
        </p:spPr>
        <p:txBody>
          <a:bodyPr wrap="square" numCol="1" anchor="t" anchorCtr="0" compatLnSpc="1">
            <a:prstTxWarp prst="textNoShape">
              <a:avLst/>
            </a:prstTxWarp>
          </a:bodyPr>
          <a:lstStyle/>
          <a:p>
            <a:endParaRPr lang="de-DE" smtClean="0"/>
          </a:p>
        </p:txBody>
      </p:sp>
      <p:sp>
        <p:nvSpPr>
          <p:cNvPr id="21508"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CC613F48-9983-415D-BD2D-9AB23DF9B818}" type="slidenum">
              <a:rPr lang="fr-FR" smtClean="0"/>
              <a:pPr/>
              <a:t>6</a:t>
            </a:fld>
            <a:endParaRPr lang="fr-FR"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Folienbildplatzhalter 1"/>
          <p:cNvSpPr>
            <a:spLocks noGrp="1" noRot="1" noChangeAspect="1" noTextEdit="1"/>
          </p:cNvSpPr>
          <p:nvPr>
            <p:ph type="sldImg"/>
          </p:nvPr>
        </p:nvSpPr>
        <p:spPr bwMode="auto">
          <a:noFill/>
          <a:ln>
            <a:solidFill>
              <a:srgbClr val="000000"/>
            </a:solidFill>
            <a:miter lim="800000"/>
            <a:headEnd/>
            <a:tailEnd/>
          </a:ln>
        </p:spPr>
      </p:sp>
      <p:sp>
        <p:nvSpPr>
          <p:cNvPr id="34818" name="Notizenplatzhalter 2"/>
          <p:cNvSpPr>
            <a:spLocks noGrp="1"/>
          </p:cNvSpPr>
          <p:nvPr>
            <p:ph type="body" idx="1"/>
          </p:nvPr>
        </p:nvSpPr>
        <p:spPr bwMode="auto">
          <a:noFill/>
        </p:spPr>
        <p:txBody>
          <a:bodyPr wrap="square" numCol="1" anchor="t" anchorCtr="0" compatLnSpc="1">
            <a:prstTxWarp prst="textNoShape">
              <a:avLst/>
            </a:prstTxWarp>
          </a:bodyPr>
          <a:lstStyle/>
          <a:p>
            <a:endParaRPr lang="de-DE" smtClean="0"/>
          </a:p>
        </p:txBody>
      </p:sp>
      <p:sp>
        <p:nvSpPr>
          <p:cNvPr id="34819"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991B3F7B-A544-405E-9EB1-791C73CA31C7}" type="slidenum">
              <a:rPr lang="fr-FR" smtClean="0"/>
              <a:pPr/>
              <a:t>7</a:t>
            </a:fld>
            <a:endParaRPr lang="fr-FR"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Folienbildplatzhalter 1"/>
          <p:cNvSpPr>
            <a:spLocks noGrp="1" noRot="1" noChangeAspect="1" noTextEdit="1"/>
          </p:cNvSpPr>
          <p:nvPr>
            <p:ph type="sldImg"/>
          </p:nvPr>
        </p:nvSpPr>
        <p:spPr bwMode="auto">
          <a:noFill/>
          <a:ln>
            <a:solidFill>
              <a:srgbClr val="000000"/>
            </a:solidFill>
            <a:miter lim="800000"/>
            <a:headEnd/>
            <a:tailEnd/>
          </a:ln>
        </p:spPr>
      </p:sp>
      <p:sp>
        <p:nvSpPr>
          <p:cNvPr id="36866" name="Notizenplatzhalter 2"/>
          <p:cNvSpPr>
            <a:spLocks noGrp="1"/>
          </p:cNvSpPr>
          <p:nvPr>
            <p:ph type="body" idx="1"/>
          </p:nvPr>
        </p:nvSpPr>
        <p:spPr bwMode="auto">
          <a:noFill/>
        </p:spPr>
        <p:txBody>
          <a:bodyPr wrap="square" numCol="1" anchor="t" anchorCtr="0" compatLnSpc="1">
            <a:prstTxWarp prst="textNoShape">
              <a:avLst/>
            </a:prstTxWarp>
          </a:bodyPr>
          <a:lstStyle/>
          <a:p>
            <a:endParaRPr lang="de-DE" smtClean="0"/>
          </a:p>
        </p:txBody>
      </p:sp>
      <p:sp>
        <p:nvSpPr>
          <p:cNvPr id="36867"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8C21F6DB-8D66-4A94-B447-40C1DDFDEB74}" type="slidenum">
              <a:rPr lang="fr-FR" smtClean="0"/>
              <a:pPr/>
              <a:t>8</a:t>
            </a:fld>
            <a:endParaRPr lang="fr-FR"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Folienbildplatzhalter 1"/>
          <p:cNvSpPr>
            <a:spLocks noGrp="1" noRot="1" noChangeAspect="1" noTextEdit="1"/>
          </p:cNvSpPr>
          <p:nvPr>
            <p:ph type="sldImg"/>
          </p:nvPr>
        </p:nvSpPr>
        <p:spPr bwMode="auto">
          <a:noFill/>
          <a:ln>
            <a:solidFill>
              <a:srgbClr val="000000"/>
            </a:solidFill>
            <a:miter lim="800000"/>
            <a:headEnd/>
            <a:tailEnd/>
          </a:ln>
        </p:spPr>
      </p:sp>
      <p:sp>
        <p:nvSpPr>
          <p:cNvPr id="38914" name="Notizenplatzhalter 2"/>
          <p:cNvSpPr>
            <a:spLocks noGrp="1"/>
          </p:cNvSpPr>
          <p:nvPr>
            <p:ph type="body" idx="1"/>
          </p:nvPr>
        </p:nvSpPr>
        <p:spPr bwMode="auto">
          <a:noFill/>
        </p:spPr>
        <p:txBody>
          <a:bodyPr wrap="square" numCol="1" anchor="t" anchorCtr="0" compatLnSpc="1">
            <a:prstTxWarp prst="textNoShape">
              <a:avLst/>
            </a:prstTxWarp>
          </a:bodyPr>
          <a:lstStyle/>
          <a:p>
            <a:endParaRPr lang="de-DE" smtClean="0"/>
          </a:p>
        </p:txBody>
      </p:sp>
      <p:sp>
        <p:nvSpPr>
          <p:cNvPr id="38915" name="Foliennummernplatzhalt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90CE5273-5AE1-4644-9E5C-1AC90EF6E77B}" type="slidenum">
              <a:rPr lang="fr-FR" smtClean="0"/>
              <a:pPr/>
              <a:t>9</a:t>
            </a:fld>
            <a:endParaRPr lang="fr-FR"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hyperlink" Target="http://www.entsoe.eu/" TargetMode="External"/><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hyperlink" Target="http://www.entsoe.eu/" TargetMode="External"/><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hyperlink" Target="http://www.entsoe.eu/" TargetMode="External"/><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hyperlink" Target="http://www.entsoe.eu/" TargetMode="External"/><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hyperlink" Target="http://www.entsoe.eu/" TargetMode="External"/><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hyperlink" Target="http://www.entsoe.eu/" TargetMode="External"/><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p:txBody>
          <a:bodyPr/>
          <a:lstStyle>
            <a:lvl1pPr>
              <a:defRPr/>
            </a:lvl1pPr>
          </a:lstStyle>
          <a:p>
            <a:pPr>
              <a:defRPr/>
            </a:pPr>
            <a:endParaRPr lang="fr-F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E692DAC8-C9F0-4504-9558-75E0B95657B9}" type="slidenum">
              <a:rPr lang="fr-FR"/>
              <a:pPr>
                <a:defRPr/>
              </a:pPr>
              <a:t>‹Nr.›</a:t>
            </a:fld>
            <a:endParaRPr lang="fr-F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lvl1pPr>
              <a:defRPr/>
            </a:lvl1pPr>
          </a:lstStyle>
          <a:p>
            <a:pPr>
              <a:defRPr/>
            </a:pPr>
            <a:endParaRPr lang="fr-F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554BD4C4-CA3C-4091-8B8D-A52513077E61}" type="slidenum">
              <a:rPr lang="fr-FR"/>
              <a:pPr>
                <a:defRPr/>
              </a:pPr>
              <a:t>‹Nr.›</a:t>
            </a:fld>
            <a:endParaRPr lang="fr-F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lvl1pPr>
              <a:defRPr/>
            </a:lvl1pPr>
          </a:lstStyle>
          <a:p>
            <a:pPr>
              <a:defRPr/>
            </a:pPr>
            <a:endParaRPr lang="fr-F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10872378-4415-411A-848C-E38E8779D0DA}" type="slidenum">
              <a:rPr lang="fr-FR"/>
              <a:pPr>
                <a:defRPr/>
              </a:pPr>
              <a:t>‹Nr.›</a:t>
            </a:fld>
            <a:endParaRPr lang="fr-F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pic>
        <p:nvPicPr>
          <p:cNvPr id="7" name="Picture 2" descr="entsoe.eu">
            <a:hlinkClick r:id="rId2"/>
          </p:cNvPr>
          <p:cNvPicPr>
            <a:picLocks noChangeAspect="1" noChangeArrowheads="1"/>
          </p:cNvPicPr>
          <p:nvPr userDrawn="1"/>
        </p:nvPicPr>
        <p:blipFill>
          <a:blip r:embed="rId3" cstate="print"/>
          <a:srcRect/>
          <a:stretch>
            <a:fillRect/>
          </a:stretch>
        </p:blipFill>
        <p:spPr bwMode="auto">
          <a:xfrm>
            <a:off x="7383463" y="173038"/>
            <a:ext cx="1581150" cy="447675"/>
          </a:xfrm>
          <a:prstGeom prst="rect">
            <a:avLst/>
          </a:prstGeom>
          <a:noFill/>
          <a:ln w="9525">
            <a:noFill/>
            <a:miter lim="800000"/>
            <a:headEnd/>
            <a:tailEnd/>
          </a:ln>
        </p:spPr>
      </p:pic>
      <p:pic>
        <p:nvPicPr>
          <p:cNvPr id="8" name="Picture 2"/>
          <p:cNvPicPr>
            <a:picLocks noChangeAspect="1" noChangeArrowheads="1"/>
          </p:cNvPicPr>
          <p:nvPr userDrawn="1"/>
        </p:nvPicPr>
        <p:blipFill>
          <a:blip r:embed="rId4" cstate="print"/>
          <a:srcRect/>
          <a:stretch>
            <a:fillRect/>
          </a:stretch>
        </p:blipFill>
        <p:spPr bwMode="auto">
          <a:xfrm>
            <a:off x="0" y="0"/>
            <a:ext cx="1584325" cy="1628775"/>
          </a:xfrm>
          <a:prstGeom prst="rect">
            <a:avLst/>
          </a:prstGeom>
          <a:noFill/>
          <a:ln w="9525">
            <a:noFill/>
            <a:miter lim="800000"/>
            <a:headEnd/>
            <a:tailEnd/>
          </a:ln>
        </p:spPr>
      </p:pic>
      <p:sp>
        <p:nvSpPr>
          <p:cNvPr id="2" name="Tittel 1"/>
          <p:cNvSpPr>
            <a:spLocks noGrp="1"/>
          </p:cNvSpPr>
          <p:nvPr>
            <p:ph type="title"/>
          </p:nvPr>
        </p:nvSpPr>
        <p:spPr/>
        <p:txBody>
          <a:bodyPr/>
          <a:lstStyle>
            <a:lvl1pPr>
              <a:defRPr/>
            </a:lvl1pPr>
          </a:lstStyle>
          <a:p>
            <a:r>
              <a:rPr lang="nb-NO" smtClean="0"/>
              <a:t>Klikk for å redigere tittelstil</a:t>
            </a:r>
            <a:endParaRPr lang="nb-NO"/>
          </a:p>
        </p:txBody>
      </p:sp>
      <p:sp>
        <p:nvSpPr>
          <p:cNvPr id="3" name="Plassholder f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4" name="Plassholder for innhol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5" name="Plassholder f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smtClean="0"/>
              <a:t>Klikk for å redigere tekststiler i malen</a:t>
            </a:r>
          </a:p>
        </p:txBody>
      </p:sp>
      <p:sp>
        <p:nvSpPr>
          <p:cNvPr id="6" name="Plassholder for innhol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9" name="Rectangle 4"/>
          <p:cNvSpPr>
            <a:spLocks noGrp="1" noChangeArrowheads="1"/>
          </p:cNvSpPr>
          <p:nvPr>
            <p:ph type="dt" sz="half" idx="10"/>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defRPr sz="1400"/>
            </a:lvl1pPr>
          </a:lstStyle>
          <a:p>
            <a:pPr>
              <a:defRPr/>
            </a:pPr>
            <a:endParaRPr lang="en-GB"/>
          </a:p>
        </p:txBody>
      </p:sp>
      <p:sp>
        <p:nvSpPr>
          <p:cNvPr id="10" name="Rectangle 5"/>
          <p:cNvSpPr>
            <a:spLocks noGrp="1" noChangeArrowheads="1"/>
          </p:cNvSpPr>
          <p:nvPr>
            <p:ph type="ftr" sz="quarter" idx="11"/>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defRPr sz="1400"/>
            </a:lvl1pPr>
          </a:lstStyle>
          <a:p>
            <a:pPr>
              <a:defRPr/>
            </a:pPr>
            <a:endParaRPr lang="en-GB"/>
          </a:p>
        </p:txBody>
      </p:sp>
      <p:sp>
        <p:nvSpPr>
          <p:cNvPr id="11" name="Rectangle 6"/>
          <p:cNvSpPr>
            <a:spLocks noGrp="1" noChangeArrowheads="1"/>
          </p:cNvSpPr>
          <p:nvPr>
            <p:ph type="sldNum" sz="quarter" idx="12"/>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defRPr sz="1400"/>
            </a:lvl1pPr>
          </a:lstStyle>
          <a:p>
            <a:pPr>
              <a:defRPr/>
            </a:pPr>
            <a:fld id="{916011E8-037A-43D9-8018-790BB581493E}" type="slidenum">
              <a:rPr lang="en-GB"/>
              <a:pPr>
                <a:defRPr/>
              </a:pPr>
              <a:t>‹Nr.›</a:t>
            </a:fld>
            <a:endParaRPr lang="en-GB"/>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pic>
        <p:nvPicPr>
          <p:cNvPr id="2" name="Picture 2" descr="entsoe.eu">
            <a:hlinkClick r:id="rId2"/>
          </p:cNvPr>
          <p:cNvPicPr>
            <a:picLocks noChangeAspect="1" noChangeArrowheads="1"/>
          </p:cNvPicPr>
          <p:nvPr userDrawn="1"/>
        </p:nvPicPr>
        <p:blipFill>
          <a:blip r:embed="rId3" cstate="print"/>
          <a:srcRect/>
          <a:stretch>
            <a:fillRect/>
          </a:stretch>
        </p:blipFill>
        <p:spPr bwMode="auto">
          <a:xfrm>
            <a:off x="7383463" y="173038"/>
            <a:ext cx="1581150" cy="447675"/>
          </a:xfrm>
          <a:prstGeom prst="rect">
            <a:avLst/>
          </a:prstGeom>
          <a:noFill/>
          <a:ln w="9525">
            <a:noFill/>
            <a:miter lim="800000"/>
            <a:headEnd/>
            <a:tailEnd/>
          </a:ln>
        </p:spPr>
      </p:pic>
      <p:pic>
        <p:nvPicPr>
          <p:cNvPr id="3" name="Picture 2"/>
          <p:cNvPicPr>
            <a:picLocks noChangeAspect="1" noChangeArrowheads="1"/>
          </p:cNvPicPr>
          <p:nvPr userDrawn="1"/>
        </p:nvPicPr>
        <p:blipFill>
          <a:blip r:embed="rId4" cstate="print"/>
          <a:srcRect/>
          <a:stretch>
            <a:fillRect/>
          </a:stretch>
        </p:blipFill>
        <p:spPr bwMode="auto">
          <a:xfrm>
            <a:off x="0" y="0"/>
            <a:ext cx="1584325" cy="1628775"/>
          </a:xfrm>
          <a:prstGeom prst="rect">
            <a:avLst/>
          </a:prstGeom>
          <a:noFill/>
          <a:ln w="9525">
            <a:noFill/>
            <a:miter lim="800000"/>
            <a:headEnd/>
            <a:tailEnd/>
          </a:ln>
        </p:spPr>
      </p:pic>
      <p:sp>
        <p:nvSpPr>
          <p:cNvPr id="4" name="Rectangle 4"/>
          <p:cNvSpPr>
            <a:spLocks noGrp="1" noChangeArrowheads="1"/>
          </p:cNvSpPr>
          <p:nvPr>
            <p:ph type="dt" sz="half" idx="10"/>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defRPr sz="1400"/>
            </a:lvl1pPr>
          </a:lstStyle>
          <a:p>
            <a:pPr>
              <a:defRPr/>
            </a:pPr>
            <a:endParaRPr lang="en-GB"/>
          </a:p>
        </p:txBody>
      </p:sp>
      <p:sp>
        <p:nvSpPr>
          <p:cNvPr id="5" name="Rectangle 5"/>
          <p:cNvSpPr>
            <a:spLocks noGrp="1" noChangeArrowheads="1"/>
          </p:cNvSpPr>
          <p:nvPr>
            <p:ph type="ftr" sz="quarter" idx="11"/>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defRPr sz="1400"/>
            </a:lvl1pPr>
          </a:lstStyle>
          <a:p>
            <a:pPr>
              <a:defRPr/>
            </a:pPr>
            <a:endParaRPr lang="en-GB"/>
          </a:p>
        </p:txBody>
      </p:sp>
      <p:sp>
        <p:nvSpPr>
          <p:cNvPr id="6" name="Rectangle 6"/>
          <p:cNvSpPr>
            <a:spLocks noGrp="1" noChangeArrowheads="1"/>
          </p:cNvSpPr>
          <p:nvPr>
            <p:ph type="sldNum" sz="quarter" idx="12"/>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defRPr sz="1400"/>
            </a:lvl1pPr>
          </a:lstStyle>
          <a:p>
            <a:pPr>
              <a:defRPr/>
            </a:pPr>
            <a:fld id="{239707BF-D166-4A27-971C-C83EA40E3A12}" type="slidenum">
              <a:rPr lang="en-GB"/>
              <a:pPr>
                <a:defRPr/>
              </a:pPr>
              <a:t>‹Nr.›</a:t>
            </a:fld>
            <a:endParaRPr lang="en-GB"/>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pic>
        <p:nvPicPr>
          <p:cNvPr id="5" name="Picture 2" descr="entsoe.eu">
            <a:hlinkClick r:id="rId2"/>
          </p:cNvPr>
          <p:cNvPicPr>
            <a:picLocks noChangeAspect="1" noChangeArrowheads="1"/>
          </p:cNvPicPr>
          <p:nvPr userDrawn="1"/>
        </p:nvPicPr>
        <p:blipFill>
          <a:blip r:embed="rId3" cstate="print"/>
          <a:srcRect/>
          <a:stretch>
            <a:fillRect/>
          </a:stretch>
        </p:blipFill>
        <p:spPr bwMode="auto">
          <a:xfrm>
            <a:off x="7383463" y="173038"/>
            <a:ext cx="1581150" cy="447675"/>
          </a:xfrm>
          <a:prstGeom prst="rect">
            <a:avLst/>
          </a:prstGeom>
          <a:noFill/>
          <a:ln w="9525">
            <a:noFill/>
            <a:miter lim="800000"/>
            <a:headEnd/>
            <a:tailEnd/>
          </a:ln>
        </p:spPr>
      </p:pic>
      <p:pic>
        <p:nvPicPr>
          <p:cNvPr id="6" name="Picture 2"/>
          <p:cNvPicPr>
            <a:picLocks noChangeAspect="1" noChangeArrowheads="1"/>
          </p:cNvPicPr>
          <p:nvPr userDrawn="1"/>
        </p:nvPicPr>
        <p:blipFill>
          <a:blip r:embed="rId4" cstate="print"/>
          <a:srcRect/>
          <a:stretch>
            <a:fillRect/>
          </a:stretch>
        </p:blipFill>
        <p:spPr bwMode="auto">
          <a:xfrm>
            <a:off x="0" y="0"/>
            <a:ext cx="1584325" cy="1628775"/>
          </a:xfrm>
          <a:prstGeom prst="rect">
            <a:avLst/>
          </a:prstGeom>
          <a:noFill/>
          <a:ln w="9525">
            <a:noFill/>
            <a:miter lim="800000"/>
            <a:headEnd/>
            <a:tailEnd/>
          </a:ln>
        </p:spPr>
      </p:pic>
      <p:sp>
        <p:nvSpPr>
          <p:cNvPr id="2" name="Tittel 1"/>
          <p:cNvSpPr>
            <a:spLocks noGrp="1"/>
          </p:cNvSpPr>
          <p:nvPr>
            <p:ph type="title"/>
          </p:nvPr>
        </p:nvSpPr>
        <p:spPr>
          <a:xfrm>
            <a:off x="457200" y="273050"/>
            <a:ext cx="3008313" cy="1162050"/>
          </a:xfrm>
        </p:spPr>
        <p:txBody>
          <a:bodyPr anchor="b"/>
          <a:lstStyle>
            <a:lvl1pPr algn="l">
              <a:defRPr sz="2000" b="1"/>
            </a:lvl1pPr>
          </a:lstStyle>
          <a:p>
            <a:r>
              <a:rPr lang="nb-NO" smtClean="0"/>
              <a:t>Klikk for å redigere tittelstil</a:t>
            </a:r>
            <a:endParaRPr lang="nb-NO"/>
          </a:p>
        </p:txBody>
      </p:sp>
      <p:sp>
        <p:nvSpPr>
          <p:cNvPr id="3" name="Plassholder for innhol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4" name="Plassholder f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7" name="Rectangle 4"/>
          <p:cNvSpPr>
            <a:spLocks noGrp="1" noChangeArrowheads="1"/>
          </p:cNvSpPr>
          <p:nvPr>
            <p:ph type="dt" sz="half" idx="10"/>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defRPr sz="1400"/>
            </a:lvl1pPr>
          </a:lstStyle>
          <a:p>
            <a:pPr>
              <a:defRPr/>
            </a:pPr>
            <a:endParaRPr lang="en-GB"/>
          </a:p>
        </p:txBody>
      </p:sp>
      <p:sp>
        <p:nvSpPr>
          <p:cNvPr id="8" name="Rectangle 5"/>
          <p:cNvSpPr>
            <a:spLocks noGrp="1" noChangeArrowheads="1"/>
          </p:cNvSpPr>
          <p:nvPr>
            <p:ph type="ftr" sz="quarter" idx="11"/>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defRPr sz="1400"/>
            </a:lvl1pPr>
          </a:lstStyle>
          <a:p>
            <a:pPr>
              <a:defRPr/>
            </a:pPr>
            <a:endParaRPr lang="en-GB"/>
          </a:p>
        </p:txBody>
      </p:sp>
      <p:sp>
        <p:nvSpPr>
          <p:cNvPr id="9" name="Rectangle 6"/>
          <p:cNvSpPr>
            <a:spLocks noGrp="1" noChangeArrowheads="1"/>
          </p:cNvSpPr>
          <p:nvPr>
            <p:ph type="sldNum" sz="quarter" idx="12"/>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defRPr sz="1400"/>
            </a:lvl1pPr>
          </a:lstStyle>
          <a:p>
            <a:pPr>
              <a:defRPr/>
            </a:pPr>
            <a:fld id="{19087EAA-54B9-42CD-B109-EE2E1B7ACF2A}" type="slidenum">
              <a:rPr lang="en-GB"/>
              <a:pPr>
                <a:defRPr/>
              </a:pPr>
              <a:t>‹Nr.›</a:t>
            </a:fld>
            <a:endParaRPr lang="en-GB"/>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pic>
        <p:nvPicPr>
          <p:cNvPr id="5" name="Picture 2" descr="entsoe.eu">
            <a:hlinkClick r:id="rId2"/>
          </p:cNvPr>
          <p:cNvPicPr>
            <a:picLocks noChangeAspect="1" noChangeArrowheads="1"/>
          </p:cNvPicPr>
          <p:nvPr userDrawn="1"/>
        </p:nvPicPr>
        <p:blipFill>
          <a:blip r:embed="rId3" cstate="print"/>
          <a:srcRect/>
          <a:stretch>
            <a:fillRect/>
          </a:stretch>
        </p:blipFill>
        <p:spPr bwMode="auto">
          <a:xfrm>
            <a:off x="7383463" y="173038"/>
            <a:ext cx="1581150" cy="447675"/>
          </a:xfrm>
          <a:prstGeom prst="rect">
            <a:avLst/>
          </a:prstGeom>
          <a:noFill/>
          <a:ln w="9525">
            <a:noFill/>
            <a:miter lim="800000"/>
            <a:headEnd/>
            <a:tailEnd/>
          </a:ln>
        </p:spPr>
      </p:pic>
      <p:pic>
        <p:nvPicPr>
          <p:cNvPr id="6" name="Picture 2"/>
          <p:cNvPicPr>
            <a:picLocks noChangeAspect="1" noChangeArrowheads="1"/>
          </p:cNvPicPr>
          <p:nvPr userDrawn="1"/>
        </p:nvPicPr>
        <p:blipFill>
          <a:blip r:embed="rId4" cstate="print"/>
          <a:srcRect/>
          <a:stretch>
            <a:fillRect/>
          </a:stretch>
        </p:blipFill>
        <p:spPr bwMode="auto">
          <a:xfrm>
            <a:off x="0" y="0"/>
            <a:ext cx="1584325" cy="1628775"/>
          </a:xfrm>
          <a:prstGeom prst="rect">
            <a:avLst/>
          </a:prstGeom>
          <a:noFill/>
          <a:ln w="9525">
            <a:noFill/>
            <a:miter lim="800000"/>
            <a:headEnd/>
            <a:tailEnd/>
          </a:ln>
        </p:spPr>
      </p:pic>
      <p:sp>
        <p:nvSpPr>
          <p:cNvPr id="2" name="Tittel 1"/>
          <p:cNvSpPr>
            <a:spLocks noGrp="1"/>
          </p:cNvSpPr>
          <p:nvPr>
            <p:ph type="title"/>
          </p:nvPr>
        </p:nvSpPr>
        <p:spPr>
          <a:xfrm>
            <a:off x="1792288" y="4800600"/>
            <a:ext cx="5486400" cy="566738"/>
          </a:xfrm>
        </p:spPr>
        <p:txBody>
          <a:bodyPr anchor="b"/>
          <a:lstStyle>
            <a:lvl1pPr algn="l">
              <a:defRPr sz="2000" b="1"/>
            </a:lvl1pPr>
          </a:lstStyle>
          <a:p>
            <a:r>
              <a:rPr lang="nb-NO" smtClean="0"/>
              <a:t>Klikk for å redigere tittelstil</a:t>
            </a:r>
            <a:endParaRPr lang="nb-NO"/>
          </a:p>
        </p:txBody>
      </p:sp>
      <p:sp>
        <p:nvSpPr>
          <p:cNvPr id="3" name="Plassholder for bild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nb-NO" noProof="0" smtClean="0"/>
          </a:p>
        </p:txBody>
      </p:sp>
      <p:sp>
        <p:nvSpPr>
          <p:cNvPr id="4" name="Plassholder f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smtClean="0"/>
              <a:t>Klikk for å redigere tekststiler i malen</a:t>
            </a:r>
          </a:p>
        </p:txBody>
      </p:sp>
      <p:sp>
        <p:nvSpPr>
          <p:cNvPr id="7" name="Rectangle 4"/>
          <p:cNvSpPr>
            <a:spLocks noGrp="1" noChangeArrowheads="1"/>
          </p:cNvSpPr>
          <p:nvPr>
            <p:ph type="dt" sz="half" idx="10"/>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defRPr sz="1400"/>
            </a:lvl1pPr>
          </a:lstStyle>
          <a:p>
            <a:pPr>
              <a:defRPr/>
            </a:pPr>
            <a:endParaRPr lang="en-GB"/>
          </a:p>
        </p:txBody>
      </p:sp>
      <p:sp>
        <p:nvSpPr>
          <p:cNvPr id="8" name="Rectangle 5"/>
          <p:cNvSpPr>
            <a:spLocks noGrp="1" noChangeArrowheads="1"/>
          </p:cNvSpPr>
          <p:nvPr>
            <p:ph type="ftr" sz="quarter" idx="11"/>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defRPr sz="1400"/>
            </a:lvl1pPr>
          </a:lstStyle>
          <a:p>
            <a:pPr>
              <a:defRPr/>
            </a:pPr>
            <a:endParaRPr lang="en-GB"/>
          </a:p>
        </p:txBody>
      </p:sp>
      <p:sp>
        <p:nvSpPr>
          <p:cNvPr id="9" name="Rectangle 6"/>
          <p:cNvSpPr>
            <a:spLocks noGrp="1" noChangeArrowheads="1"/>
          </p:cNvSpPr>
          <p:nvPr>
            <p:ph type="sldNum" sz="quarter" idx="12"/>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defRPr sz="1400"/>
            </a:lvl1pPr>
          </a:lstStyle>
          <a:p>
            <a:pPr>
              <a:defRPr/>
            </a:pPr>
            <a:fld id="{60D34E8B-93E6-41DC-97F6-CAC04448C430}" type="slidenum">
              <a:rPr lang="en-GB"/>
              <a:pPr>
                <a:defRPr/>
              </a:pPr>
              <a:t>‹Nr.›</a:t>
            </a:fld>
            <a:endParaRPr lang="en-GB"/>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pic>
        <p:nvPicPr>
          <p:cNvPr id="4" name="Picture 2" descr="entsoe.eu">
            <a:hlinkClick r:id="rId2"/>
          </p:cNvPr>
          <p:cNvPicPr>
            <a:picLocks noChangeAspect="1" noChangeArrowheads="1"/>
          </p:cNvPicPr>
          <p:nvPr userDrawn="1"/>
        </p:nvPicPr>
        <p:blipFill>
          <a:blip r:embed="rId3" cstate="print"/>
          <a:srcRect/>
          <a:stretch>
            <a:fillRect/>
          </a:stretch>
        </p:blipFill>
        <p:spPr bwMode="auto">
          <a:xfrm>
            <a:off x="7383463" y="173038"/>
            <a:ext cx="1581150" cy="447675"/>
          </a:xfrm>
          <a:prstGeom prst="rect">
            <a:avLst/>
          </a:prstGeom>
          <a:noFill/>
          <a:ln w="9525">
            <a:noFill/>
            <a:miter lim="800000"/>
            <a:headEnd/>
            <a:tailEnd/>
          </a:ln>
        </p:spPr>
      </p:pic>
      <p:pic>
        <p:nvPicPr>
          <p:cNvPr id="5" name="Picture 2"/>
          <p:cNvPicPr>
            <a:picLocks noChangeAspect="1" noChangeArrowheads="1"/>
          </p:cNvPicPr>
          <p:nvPr userDrawn="1"/>
        </p:nvPicPr>
        <p:blipFill>
          <a:blip r:embed="rId4" cstate="print"/>
          <a:srcRect/>
          <a:stretch>
            <a:fillRect/>
          </a:stretch>
        </p:blipFill>
        <p:spPr bwMode="auto">
          <a:xfrm>
            <a:off x="0" y="0"/>
            <a:ext cx="1584325" cy="1628775"/>
          </a:xfrm>
          <a:prstGeom prst="rect">
            <a:avLst/>
          </a:prstGeom>
          <a:noFill/>
          <a:ln w="9525">
            <a:noFill/>
            <a:miter lim="800000"/>
            <a:headEnd/>
            <a:tailEnd/>
          </a:ln>
        </p:spPr>
      </p:pic>
      <p:sp>
        <p:nvSpPr>
          <p:cNvPr id="2" name="Tittel 1"/>
          <p:cNvSpPr>
            <a:spLocks noGrp="1"/>
          </p:cNvSpPr>
          <p:nvPr>
            <p:ph type="title"/>
          </p:nvPr>
        </p:nvSpPr>
        <p:spPr/>
        <p:txBody>
          <a:bodyPr/>
          <a:lstStyle/>
          <a:p>
            <a:r>
              <a:rPr lang="nb-NO" smtClean="0"/>
              <a:t>Klikk for å redigere tittelstil</a:t>
            </a:r>
            <a:endParaRPr lang="nb-NO"/>
          </a:p>
        </p:txBody>
      </p:sp>
      <p:sp>
        <p:nvSpPr>
          <p:cNvPr id="3" name="Plassholder for loddrett tekst 2"/>
          <p:cNvSpPr>
            <a:spLocks noGrp="1"/>
          </p:cNvSpPr>
          <p:nvPr>
            <p:ph type="body" orient="vert" idx="1"/>
          </p:nvPr>
        </p:nvSpPr>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6" name="Rectangle 4"/>
          <p:cNvSpPr>
            <a:spLocks noGrp="1" noChangeArrowheads="1"/>
          </p:cNvSpPr>
          <p:nvPr>
            <p:ph type="dt" sz="half" idx="10"/>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defRPr sz="1400"/>
            </a:lvl1pPr>
          </a:lstStyle>
          <a:p>
            <a:pPr>
              <a:defRPr/>
            </a:pPr>
            <a:endParaRPr lang="en-GB"/>
          </a:p>
        </p:txBody>
      </p:sp>
      <p:sp>
        <p:nvSpPr>
          <p:cNvPr id="7" name="Rectangle 5"/>
          <p:cNvSpPr>
            <a:spLocks noGrp="1" noChangeArrowheads="1"/>
          </p:cNvSpPr>
          <p:nvPr>
            <p:ph type="ftr" sz="quarter" idx="11"/>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defRPr sz="1400"/>
            </a:lvl1pPr>
          </a:lstStyle>
          <a:p>
            <a:pPr>
              <a:defRPr/>
            </a:pPr>
            <a:endParaRPr lang="en-GB"/>
          </a:p>
        </p:txBody>
      </p:sp>
      <p:sp>
        <p:nvSpPr>
          <p:cNvPr id="8" name="Rectangle 6"/>
          <p:cNvSpPr>
            <a:spLocks noGrp="1" noChangeArrowheads="1"/>
          </p:cNvSpPr>
          <p:nvPr>
            <p:ph type="sldNum" sz="quarter" idx="12"/>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defRPr sz="1400"/>
            </a:lvl1pPr>
          </a:lstStyle>
          <a:p>
            <a:pPr>
              <a:defRPr/>
            </a:pPr>
            <a:fld id="{92D62CDC-142B-4797-B27D-D1431E719A63}" type="slidenum">
              <a:rPr lang="en-GB"/>
              <a:pPr>
                <a:defRPr/>
              </a:pPr>
              <a:t>‹Nr.›</a:t>
            </a:fld>
            <a:endParaRPr lang="en-GB"/>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pic>
        <p:nvPicPr>
          <p:cNvPr id="4" name="Picture 2" descr="entsoe.eu">
            <a:hlinkClick r:id="rId2"/>
          </p:cNvPr>
          <p:cNvPicPr>
            <a:picLocks noChangeAspect="1" noChangeArrowheads="1"/>
          </p:cNvPicPr>
          <p:nvPr userDrawn="1"/>
        </p:nvPicPr>
        <p:blipFill>
          <a:blip r:embed="rId3" cstate="print"/>
          <a:srcRect/>
          <a:stretch>
            <a:fillRect/>
          </a:stretch>
        </p:blipFill>
        <p:spPr bwMode="auto">
          <a:xfrm>
            <a:off x="7383463" y="173038"/>
            <a:ext cx="1581150" cy="447675"/>
          </a:xfrm>
          <a:prstGeom prst="rect">
            <a:avLst/>
          </a:prstGeom>
          <a:noFill/>
          <a:ln w="9525">
            <a:noFill/>
            <a:miter lim="800000"/>
            <a:headEnd/>
            <a:tailEnd/>
          </a:ln>
        </p:spPr>
      </p:pic>
      <p:pic>
        <p:nvPicPr>
          <p:cNvPr id="5" name="Picture 2"/>
          <p:cNvPicPr>
            <a:picLocks noChangeAspect="1" noChangeArrowheads="1"/>
          </p:cNvPicPr>
          <p:nvPr userDrawn="1"/>
        </p:nvPicPr>
        <p:blipFill>
          <a:blip r:embed="rId4" cstate="print"/>
          <a:srcRect/>
          <a:stretch>
            <a:fillRect/>
          </a:stretch>
        </p:blipFill>
        <p:spPr bwMode="auto">
          <a:xfrm>
            <a:off x="0" y="0"/>
            <a:ext cx="1584325" cy="1628775"/>
          </a:xfrm>
          <a:prstGeom prst="rect">
            <a:avLst/>
          </a:prstGeom>
          <a:noFill/>
          <a:ln w="9525">
            <a:noFill/>
            <a:miter lim="800000"/>
            <a:headEnd/>
            <a:tailEnd/>
          </a:ln>
        </p:spPr>
      </p:pic>
      <p:sp>
        <p:nvSpPr>
          <p:cNvPr id="2" name="Loddrett tittel 1"/>
          <p:cNvSpPr>
            <a:spLocks noGrp="1"/>
          </p:cNvSpPr>
          <p:nvPr>
            <p:ph type="title" orient="vert"/>
          </p:nvPr>
        </p:nvSpPr>
        <p:spPr>
          <a:xfrm>
            <a:off x="6629400" y="274638"/>
            <a:ext cx="2057400" cy="5851525"/>
          </a:xfrm>
        </p:spPr>
        <p:txBody>
          <a:bodyPr vert="eaVert"/>
          <a:lstStyle/>
          <a:p>
            <a:r>
              <a:rPr lang="nb-NO" smtClean="0"/>
              <a:t>Klikk for å redigere tittelstil</a:t>
            </a:r>
            <a:endParaRPr lang="nb-NO"/>
          </a:p>
        </p:txBody>
      </p:sp>
      <p:sp>
        <p:nvSpPr>
          <p:cNvPr id="3" name="Plassholder for loddrett tekst 2"/>
          <p:cNvSpPr>
            <a:spLocks noGrp="1"/>
          </p:cNvSpPr>
          <p:nvPr>
            <p:ph type="body" orient="vert" idx="1"/>
          </p:nvPr>
        </p:nvSpPr>
        <p:spPr>
          <a:xfrm>
            <a:off x="457200" y="274638"/>
            <a:ext cx="6019800" cy="5851525"/>
          </a:xfrm>
        </p:spPr>
        <p:txBody>
          <a:bodyPr vert="eaVert"/>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6" name="Rectangle 4"/>
          <p:cNvSpPr>
            <a:spLocks noGrp="1" noChangeArrowheads="1"/>
          </p:cNvSpPr>
          <p:nvPr>
            <p:ph type="dt" sz="half" idx="10"/>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defRPr sz="1400"/>
            </a:lvl1pPr>
          </a:lstStyle>
          <a:p>
            <a:pPr>
              <a:defRPr/>
            </a:pPr>
            <a:endParaRPr lang="en-GB"/>
          </a:p>
        </p:txBody>
      </p:sp>
      <p:sp>
        <p:nvSpPr>
          <p:cNvPr id="7" name="Rectangle 5"/>
          <p:cNvSpPr>
            <a:spLocks noGrp="1" noChangeArrowheads="1"/>
          </p:cNvSpPr>
          <p:nvPr>
            <p:ph type="ftr" sz="quarter" idx="11"/>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defRPr sz="1400"/>
            </a:lvl1pPr>
          </a:lstStyle>
          <a:p>
            <a:pPr>
              <a:defRPr/>
            </a:pPr>
            <a:endParaRPr lang="en-GB"/>
          </a:p>
        </p:txBody>
      </p:sp>
      <p:sp>
        <p:nvSpPr>
          <p:cNvPr id="8" name="Rectangle 6"/>
          <p:cNvSpPr>
            <a:spLocks noGrp="1" noChangeArrowheads="1"/>
          </p:cNvSpPr>
          <p:nvPr>
            <p:ph type="sldNum" sz="quarter" idx="12"/>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defRPr sz="1400"/>
            </a:lvl1pPr>
          </a:lstStyle>
          <a:p>
            <a:pPr>
              <a:defRPr/>
            </a:pPr>
            <a:fld id="{8B0A8EE8-4FCE-4C0B-8326-69DB75F6475B}" type="slidenum">
              <a:rPr lang="en-GB"/>
              <a:pPr>
                <a:defRPr/>
              </a:pPr>
              <a:t>‹Nr.›</a:t>
            </a:fld>
            <a:endParaRPr lang="en-GB"/>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o innholdsdeler">
    <p:spTree>
      <p:nvGrpSpPr>
        <p:cNvPr id="1" name=""/>
        <p:cNvGrpSpPr/>
        <p:nvPr/>
      </p:nvGrpSpPr>
      <p:grpSpPr>
        <a:xfrm>
          <a:off x="0" y="0"/>
          <a:ext cx="0" cy="0"/>
          <a:chOff x="0" y="0"/>
          <a:chExt cx="0" cy="0"/>
        </a:xfrm>
      </p:grpSpPr>
      <p:pic>
        <p:nvPicPr>
          <p:cNvPr id="4" name="Picture 2"/>
          <p:cNvPicPr>
            <a:picLocks noChangeAspect="1" noChangeArrowheads="1"/>
          </p:cNvPicPr>
          <p:nvPr userDrawn="1"/>
        </p:nvPicPr>
        <p:blipFill>
          <a:blip r:embed="rId2" cstate="print"/>
          <a:srcRect/>
          <a:stretch>
            <a:fillRect/>
          </a:stretch>
        </p:blipFill>
        <p:spPr bwMode="auto">
          <a:xfrm>
            <a:off x="0" y="0"/>
            <a:ext cx="1584325" cy="1628775"/>
          </a:xfrm>
          <a:prstGeom prst="rect">
            <a:avLst/>
          </a:prstGeom>
          <a:noFill/>
          <a:ln w="9525">
            <a:noFill/>
            <a:miter lim="800000"/>
            <a:headEnd/>
            <a:tailEnd/>
          </a:ln>
        </p:spPr>
      </p:pic>
      <p:cxnSp>
        <p:nvCxnSpPr>
          <p:cNvPr id="5" name="Rett linje 183"/>
          <p:cNvCxnSpPr/>
          <p:nvPr userDrawn="1"/>
        </p:nvCxnSpPr>
        <p:spPr>
          <a:xfrm>
            <a:off x="1619250" y="1614488"/>
            <a:ext cx="7127875" cy="158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 name="Rectangle 6"/>
          <p:cNvSpPr/>
          <p:nvPr userDrawn="1"/>
        </p:nvSpPr>
        <p:spPr bwMode="black">
          <a:xfrm>
            <a:off x="8867775" y="6535738"/>
            <a:ext cx="214313" cy="21590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89373" tIns="44687" rIns="89373" bIns="44687" anchor="ctr"/>
          <a:lstStyle/>
          <a:p>
            <a:pPr algn="ctr">
              <a:defRPr/>
            </a:pPr>
            <a:endParaRPr lang="fr-FR" dirty="0">
              <a:latin typeface="Tw Cen MT" pitchFamily="34" charset="0"/>
            </a:endParaRPr>
          </a:p>
        </p:txBody>
      </p:sp>
      <p:sp>
        <p:nvSpPr>
          <p:cNvPr id="7" name="ZoneTexte 7"/>
          <p:cNvSpPr txBox="1"/>
          <p:nvPr userDrawn="1"/>
        </p:nvSpPr>
        <p:spPr bwMode="white">
          <a:xfrm>
            <a:off x="8766175" y="6453188"/>
            <a:ext cx="414338" cy="244475"/>
          </a:xfrm>
          <a:prstGeom prst="rect">
            <a:avLst/>
          </a:prstGeom>
          <a:noFill/>
        </p:spPr>
        <p:txBody>
          <a:bodyPr wrap="none">
            <a:spAutoFit/>
          </a:bodyPr>
          <a:lstStyle/>
          <a:p>
            <a:pPr algn="r">
              <a:defRPr/>
            </a:pPr>
            <a:fld id="{A6441D7B-AFF9-4C1E-AC5B-9777222E3D92}" type="slidenum">
              <a:rPr lang="fr-FR" sz="1050" b="1">
                <a:solidFill>
                  <a:schemeClr val="bg1"/>
                </a:solidFill>
                <a:latin typeface="Tw Cen MT" pitchFamily="34" charset="0"/>
              </a:rPr>
              <a:pPr algn="r">
                <a:defRPr/>
              </a:pPr>
              <a:t>‹Nr.›</a:t>
            </a:fld>
            <a:endParaRPr lang="fr-FR" sz="1050" b="1" dirty="0">
              <a:solidFill>
                <a:schemeClr val="bg1"/>
              </a:solidFill>
              <a:latin typeface="Tw Cen MT" pitchFamily="34" charset="0"/>
            </a:endParaRPr>
          </a:p>
        </p:txBody>
      </p:sp>
      <p:sp>
        <p:nvSpPr>
          <p:cNvPr id="8" name="Rectangle 8"/>
          <p:cNvSpPr/>
          <p:nvPr userDrawn="1"/>
        </p:nvSpPr>
        <p:spPr bwMode="ltGray">
          <a:xfrm>
            <a:off x="8859838" y="6762750"/>
            <a:ext cx="227012" cy="444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dist" defTabSz="972993">
              <a:defRPr/>
            </a:pPr>
            <a:r>
              <a:rPr lang="fr-FR" sz="700" dirty="0">
                <a:solidFill>
                  <a:schemeClr val="bg1">
                    <a:lumMod val="75000"/>
                  </a:schemeClr>
                </a:solidFill>
                <a:latin typeface="Tw Cen MT" pitchFamily="34" charset="0"/>
                <a:cs typeface="Arial" pitchFamily="34" charset="0"/>
              </a:rPr>
              <a:t>page</a:t>
            </a:r>
          </a:p>
        </p:txBody>
      </p:sp>
      <p:sp>
        <p:nvSpPr>
          <p:cNvPr id="9" name="Rectangle 9"/>
          <p:cNvSpPr/>
          <p:nvPr userDrawn="1"/>
        </p:nvSpPr>
        <p:spPr bwMode="black">
          <a:xfrm>
            <a:off x="8867775" y="6535738"/>
            <a:ext cx="214313" cy="2159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9373" tIns="44687" rIns="89373" bIns="44687" anchor="ctr"/>
          <a:lstStyle/>
          <a:p>
            <a:pPr algn="ctr">
              <a:defRPr/>
            </a:pPr>
            <a:endParaRPr lang="fr-FR" dirty="0">
              <a:latin typeface="Tw Cen MT" pitchFamily="34" charset="0"/>
            </a:endParaRPr>
          </a:p>
        </p:txBody>
      </p:sp>
      <p:sp>
        <p:nvSpPr>
          <p:cNvPr id="10" name="ZoneTexte 10"/>
          <p:cNvSpPr txBox="1"/>
          <p:nvPr userDrawn="1"/>
        </p:nvSpPr>
        <p:spPr bwMode="white">
          <a:xfrm>
            <a:off x="8689975" y="6515100"/>
            <a:ext cx="414338" cy="244475"/>
          </a:xfrm>
          <a:prstGeom prst="rect">
            <a:avLst/>
          </a:prstGeom>
          <a:noFill/>
        </p:spPr>
        <p:txBody>
          <a:bodyPr wrap="none">
            <a:spAutoFit/>
          </a:bodyPr>
          <a:lstStyle/>
          <a:p>
            <a:pPr algn="r">
              <a:defRPr/>
            </a:pPr>
            <a:fld id="{4F0E92A3-2DE3-4C64-A5BB-7D5E9845315F}" type="slidenum">
              <a:rPr lang="fr-FR" sz="1050" b="1">
                <a:solidFill>
                  <a:schemeClr val="bg1"/>
                </a:solidFill>
                <a:latin typeface="Tw Cen MT" pitchFamily="34" charset="0"/>
              </a:rPr>
              <a:pPr algn="r">
                <a:defRPr/>
              </a:pPr>
              <a:t>‹Nr.›</a:t>
            </a:fld>
            <a:endParaRPr lang="fr-FR" sz="1050" b="1" dirty="0">
              <a:solidFill>
                <a:schemeClr val="bg1"/>
              </a:solidFill>
              <a:latin typeface="Tw Cen MT" pitchFamily="34" charset="0"/>
            </a:endParaRPr>
          </a:p>
        </p:txBody>
      </p:sp>
      <p:sp>
        <p:nvSpPr>
          <p:cNvPr id="11" name="Rectangle 11"/>
          <p:cNvSpPr/>
          <p:nvPr userDrawn="1"/>
        </p:nvSpPr>
        <p:spPr bwMode="ltGray">
          <a:xfrm>
            <a:off x="8859838" y="6762750"/>
            <a:ext cx="227012" cy="444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dist" defTabSz="972993">
              <a:defRPr/>
            </a:pPr>
            <a:r>
              <a:rPr lang="fr-FR" sz="700" dirty="0">
                <a:solidFill>
                  <a:schemeClr val="bg1">
                    <a:lumMod val="75000"/>
                  </a:schemeClr>
                </a:solidFill>
                <a:latin typeface="Tw Cen MT" pitchFamily="34" charset="0"/>
                <a:cs typeface="Arial" pitchFamily="34" charset="0"/>
              </a:rPr>
              <a:t>page</a:t>
            </a:r>
          </a:p>
        </p:txBody>
      </p:sp>
      <p:sp>
        <p:nvSpPr>
          <p:cNvPr id="2" name="Tittel 1"/>
          <p:cNvSpPr>
            <a:spLocks noGrp="1"/>
          </p:cNvSpPr>
          <p:nvPr>
            <p:ph type="title"/>
          </p:nvPr>
        </p:nvSpPr>
        <p:spPr>
          <a:xfrm>
            <a:off x="1619672" y="476672"/>
            <a:ext cx="7128792" cy="1143000"/>
          </a:xfrm>
        </p:spPr>
        <p:txBody>
          <a:bodyPr anchor="b"/>
          <a:lstStyle>
            <a:lvl1pPr algn="l">
              <a:defRPr sz="3200" b="1">
                <a:solidFill>
                  <a:schemeClr val="bg1">
                    <a:lumMod val="50000"/>
                  </a:schemeClr>
                </a:solidFill>
                <a:latin typeface="Tw Cen MT" pitchFamily="34" charset="0"/>
              </a:defRPr>
            </a:lvl1pPr>
          </a:lstStyle>
          <a:p>
            <a:r>
              <a:rPr lang="en-US" smtClean="0"/>
              <a:t>Titelmasterformat durch Klicken bearbeiten</a:t>
            </a:r>
            <a:endParaRPr lang="nb-NO"/>
          </a:p>
        </p:txBody>
      </p:sp>
      <p:sp>
        <p:nvSpPr>
          <p:cNvPr id="3" name="Plassholder for innhold 2"/>
          <p:cNvSpPr>
            <a:spLocks noGrp="1"/>
          </p:cNvSpPr>
          <p:nvPr>
            <p:ph sz="half" idx="1"/>
          </p:nvPr>
        </p:nvSpPr>
        <p:spPr>
          <a:xfrm>
            <a:off x="323528" y="1981200"/>
            <a:ext cx="8496944" cy="4114800"/>
          </a:xfrm>
        </p:spPr>
        <p:txBody>
          <a:bodyPr/>
          <a:lstStyle>
            <a:lvl1pPr>
              <a:defRPr sz="2800">
                <a:latin typeface="Tw Cen MT" pitchFamily="34" charset="0"/>
              </a:defRPr>
            </a:lvl1pPr>
            <a:lvl2pPr>
              <a:defRPr sz="2000">
                <a:latin typeface="Tw Cen MT" pitchFamily="34" charset="0"/>
              </a:defRPr>
            </a:lvl2pPr>
            <a:lvl3pPr>
              <a:defRPr sz="1800">
                <a:latin typeface="Tw Cen MT" pitchFamily="34" charset="0"/>
              </a:defRPr>
            </a:lvl3pPr>
            <a:lvl4pPr>
              <a:defRPr sz="1800"/>
            </a:lvl4pPr>
            <a:lvl5pPr>
              <a:defRPr sz="1800"/>
            </a:lvl5pPr>
            <a:lvl6pPr>
              <a:defRPr sz="1800"/>
            </a:lvl6pPr>
            <a:lvl7pPr>
              <a:defRPr sz="1800"/>
            </a:lvl7pPr>
            <a:lvl8pPr>
              <a:defRPr sz="1800"/>
            </a:lvl8pPr>
            <a:lvl9pPr>
              <a:defRPr sz="1800"/>
            </a:lvl9p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lvl1pPr>
              <a:defRPr/>
            </a:lvl1pPr>
          </a:lstStyle>
          <a:p>
            <a:pPr>
              <a:defRPr/>
            </a:pPr>
            <a:endParaRPr lang="fr-F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69821F04-9F46-4E92-8B87-8B5A4A63585B}" type="slidenum">
              <a:rPr lang="fr-FR"/>
              <a:pPr>
                <a:defRPr/>
              </a:pPr>
              <a:t>‹Nr.›</a:t>
            </a:fld>
            <a:endParaRPr lang="fr-F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Espace réservé de la date 3"/>
          <p:cNvSpPr>
            <a:spLocks noGrp="1"/>
          </p:cNvSpPr>
          <p:nvPr>
            <p:ph type="dt" sz="half" idx="10"/>
          </p:nvPr>
        </p:nvSpPr>
        <p:spPr/>
        <p:txBody>
          <a:bodyPr/>
          <a:lstStyle>
            <a:lvl1pPr>
              <a:defRPr/>
            </a:lvl1pPr>
          </a:lstStyle>
          <a:p>
            <a:pPr>
              <a:defRPr/>
            </a:pPr>
            <a:endParaRPr lang="fr-F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FE15A752-CD6F-44D3-AF90-325E2DB3C840}" type="slidenum">
              <a:rPr lang="fr-FR"/>
              <a:pPr>
                <a:defRPr/>
              </a:pPr>
              <a:t>‹Nr.›</a:t>
            </a:fld>
            <a:endParaRPr 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3"/>
          <p:cNvSpPr>
            <a:spLocks noGrp="1"/>
          </p:cNvSpPr>
          <p:nvPr>
            <p:ph type="dt" sz="half" idx="10"/>
          </p:nvPr>
        </p:nvSpPr>
        <p:spPr/>
        <p:txBody>
          <a:bodyPr/>
          <a:lstStyle>
            <a:lvl1pPr>
              <a:defRPr/>
            </a:lvl1pPr>
          </a:lstStyle>
          <a:p>
            <a:pPr>
              <a:defRPr/>
            </a:pPr>
            <a:endParaRPr lang="fr-FR"/>
          </a:p>
        </p:txBody>
      </p:sp>
      <p:sp>
        <p:nvSpPr>
          <p:cNvPr id="6" name="Espace réservé du pied de page 4"/>
          <p:cNvSpPr>
            <a:spLocks noGrp="1"/>
          </p:cNvSpPr>
          <p:nvPr>
            <p:ph type="ftr" sz="quarter" idx="11"/>
          </p:nvPr>
        </p:nvSpPr>
        <p:spPr/>
        <p:txBody>
          <a:bodyPr/>
          <a:lstStyle>
            <a:lvl1pPr>
              <a:defRPr/>
            </a:lvl1pPr>
          </a:lstStyle>
          <a:p>
            <a:pPr>
              <a:defRPr/>
            </a:pPr>
            <a:endParaRPr lang="fr-FR"/>
          </a:p>
        </p:txBody>
      </p:sp>
      <p:sp>
        <p:nvSpPr>
          <p:cNvPr id="7" name="Espace réservé du numéro de diapositive 5"/>
          <p:cNvSpPr>
            <a:spLocks noGrp="1"/>
          </p:cNvSpPr>
          <p:nvPr>
            <p:ph type="sldNum" sz="quarter" idx="12"/>
          </p:nvPr>
        </p:nvSpPr>
        <p:spPr/>
        <p:txBody>
          <a:bodyPr/>
          <a:lstStyle>
            <a:lvl1pPr>
              <a:defRPr/>
            </a:lvl1pPr>
          </a:lstStyle>
          <a:p>
            <a:pPr>
              <a:defRPr/>
            </a:pPr>
            <a:fld id="{7D75872E-8BC7-4CEF-B368-F52E1236861C}" type="slidenum">
              <a:rPr lang="fr-FR"/>
              <a:pPr>
                <a:defRPr/>
              </a:pPr>
              <a:t>‹Nr.›</a:t>
            </a:fld>
            <a:endParaRPr 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3"/>
          <p:cNvSpPr>
            <a:spLocks noGrp="1"/>
          </p:cNvSpPr>
          <p:nvPr>
            <p:ph type="dt" sz="half" idx="10"/>
          </p:nvPr>
        </p:nvSpPr>
        <p:spPr/>
        <p:txBody>
          <a:bodyPr/>
          <a:lstStyle>
            <a:lvl1pPr>
              <a:defRPr/>
            </a:lvl1pPr>
          </a:lstStyle>
          <a:p>
            <a:pPr>
              <a:defRPr/>
            </a:pPr>
            <a:endParaRPr lang="fr-FR"/>
          </a:p>
        </p:txBody>
      </p:sp>
      <p:sp>
        <p:nvSpPr>
          <p:cNvPr id="8" name="Espace réservé du pied de page 4"/>
          <p:cNvSpPr>
            <a:spLocks noGrp="1"/>
          </p:cNvSpPr>
          <p:nvPr>
            <p:ph type="ftr" sz="quarter" idx="11"/>
          </p:nvPr>
        </p:nvSpPr>
        <p:spPr/>
        <p:txBody>
          <a:bodyPr/>
          <a:lstStyle>
            <a:lvl1pPr>
              <a:defRPr/>
            </a:lvl1pPr>
          </a:lstStyle>
          <a:p>
            <a:pPr>
              <a:defRPr/>
            </a:pPr>
            <a:endParaRPr lang="fr-FR"/>
          </a:p>
        </p:txBody>
      </p:sp>
      <p:sp>
        <p:nvSpPr>
          <p:cNvPr id="9" name="Espace réservé du numéro de diapositive 5"/>
          <p:cNvSpPr>
            <a:spLocks noGrp="1"/>
          </p:cNvSpPr>
          <p:nvPr>
            <p:ph type="sldNum" sz="quarter" idx="12"/>
          </p:nvPr>
        </p:nvSpPr>
        <p:spPr/>
        <p:txBody>
          <a:bodyPr/>
          <a:lstStyle>
            <a:lvl1pPr>
              <a:defRPr/>
            </a:lvl1pPr>
          </a:lstStyle>
          <a:p>
            <a:pPr>
              <a:defRPr/>
            </a:pPr>
            <a:fld id="{E14FC969-9259-4B79-AB6A-DD9B3DD824A2}" type="slidenum">
              <a:rPr lang="fr-FR"/>
              <a:pPr>
                <a:defRPr/>
              </a:pPr>
              <a:t>‹Nr.›</a:t>
            </a:fld>
            <a:endParaRPr lang="fr-F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e la date 3"/>
          <p:cNvSpPr>
            <a:spLocks noGrp="1"/>
          </p:cNvSpPr>
          <p:nvPr>
            <p:ph type="dt" sz="half" idx="10"/>
          </p:nvPr>
        </p:nvSpPr>
        <p:spPr/>
        <p:txBody>
          <a:bodyPr/>
          <a:lstStyle>
            <a:lvl1pPr>
              <a:defRPr/>
            </a:lvl1pPr>
          </a:lstStyle>
          <a:p>
            <a:pPr>
              <a:defRPr/>
            </a:pPr>
            <a:endParaRPr lang="fr-FR"/>
          </a:p>
        </p:txBody>
      </p:sp>
      <p:sp>
        <p:nvSpPr>
          <p:cNvPr id="4" name="Espace réservé du pied de page 4"/>
          <p:cNvSpPr>
            <a:spLocks noGrp="1"/>
          </p:cNvSpPr>
          <p:nvPr>
            <p:ph type="ftr" sz="quarter" idx="11"/>
          </p:nvPr>
        </p:nvSpPr>
        <p:spPr/>
        <p:txBody>
          <a:bodyPr/>
          <a:lstStyle>
            <a:lvl1pPr>
              <a:defRPr/>
            </a:lvl1pPr>
          </a:lstStyle>
          <a:p>
            <a:pPr>
              <a:defRPr/>
            </a:pPr>
            <a:endParaRPr lang="fr-FR"/>
          </a:p>
        </p:txBody>
      </p:sp>
      <p:sp>
        <p:nvSpPr>
          <p:cNvPr id="5" name="Espace réservé du numéro de diapositive 5"/>
          <p:cNvSpPr>
            <a:spLocks noGrp="1"/>
          </p:cNvSpPr>
          <p:nvPr>
            <p:ph type="sldNum" sz="quarter" idx="12"/>
          </p:nvPr>
        </p:nvSpPr>
        <p:spPr/>
        <p:txBody>
          <a:bodyPr/>
          <a:lstStyle>
            <a:lvl1pPr>
              <a:defRPr/>
            </a:lvl1pPr>
          </a:lstStyle>
          <a:p>
            <a:pPr>
              <a:defRPr/>
            </a:pPr>
            <a:fld id="{C7BEED2A-4AF5-4EFD-A475-EDD6D06A62A1}" type="slidenum">
              <a:rPr lang="fr-FR"/>
              <a:pPr>
                <a:defRPr/>
              </a:pPr>
              <a:t>‹Nr.›</a:t>
            </a:fld>
            <a:endParaRPr lang="fr-F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3"/>
          <p:cNvSpPr>
            <a:spLocks noGrp="1"/>
          </p:cNvSpPr>
          <p:nvPr>
            <p:ph type="dt" sz="half" idx="10"/>
          </p:nvPr>
        </p:nvSpPr>
        <p:spPr/>
        <p:txBody>
          <a:bodyPr/>
          <a:lstStyle>
            <a:lvl1pPr>
              <a:defRPr/>
            </a:lvl1pPr>
          </a:lstStyle>
          <a:p>
            <a:pPr>
              <a:defRPr/>
            </a:pPr>
            <a:endParaRPr lang="fr-FR"/>
          </a:p>
        </p:txBody>
      </p:sp>
      <p:sp>
        <p:nvSpPr>
          <p:cNvPr id="3" name="Espace réservé du pied de page 4"/>
          <p:cNvSpPr>
            <a:spLocks noGrp="1"/>
          </p:cNvSpPr>
          <p:nvPr>
            <p:ph type="ftr" sz="quarter" idx="11"/>
          </p:nvPr>
        </p:nvSpPr>
        <p:spPr/>
        <p:txBody>
          <a:bodyPr/>
          <a:lstStyle>
            <a:lvl1pPr>
              <a:defRPr/>
            </a:lvl1pPr>
          </a:lstStyle>
          <a:p>
            <a:pPr>
              <a:defRPr/>
            </a:pPr>
            <a:endParaRPr lang="fr-FR"/>
          </a:p>
        </p:txBody>
      </p:sp>
      <p:sp>
        <p:nvSpPr>
          <p:cNvPr id="4" name="Espace réservé du numéro de diapositive 5"/>
          <p:cNvSpPr>
            <a:spLocks noGrp="1"/>
          </p:cNvSpPr>
          <p:nvPr>
            <p:ph type="sldNum" sz="quarter" idx="12"/>
          </p:nvPr>
        </p:nvSpPr>
        <p:spPr/>
        <p:txBody>
          <a:bodyPr/>
          <a:lstStyle>
            <a:lvl1pPr>
              <a:defRPr/>
            </a:lvl1pPr>
          </a:lstStyle>
          <a:p>
            <a:pPr>
              <a:defRPr/>
            </a:pPr>
            <a:fld id="{58D76977-60AC-49B7-AA03-C9ED69F39AF4}" type="slidenum">
              <a:rPr lang="fr-FR"/>
              <a:pPr>
                <a:defRPr/>
              </a:pPr>
              <a:t>‹Nr.›</a:t>
            </a:fld>
            <a:endParaRPr 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3"/>
          <p:cNvSpPr>
            <a:spLocks noGrp="1"/>
          </p:cNvSpPr>
          <p:nvPr>
            <p:ph type="dt" sz="half" idx="10"/>
          </p:nvPr>
        </p:nvSpPr>
        <p:spPr/>
        <p:txBody>
          <a:bodyPr/>
          <a:lstStyle>
            <a:lvl1pPr>
              <a:defRPr/>
            </a:lvl1pPr>
          </a:lstStyle>
          <a:p>
            <a:pPr>
              <a:defRPr/>
            </a:pPr>
            <a:endParaRPr lang="fr-FR"/>
          </a:p>
        </p:txBody>
      </p:sp>
      <p:sp>
        <p:nvSpPr>
          <p:cNvPr id="6" name="Espace réservé du pied de page 4"/>
          <p:cNvSpPr>
            <a:spLocks noGrp="1"/>
          </p:cNvSpPr>
          <p:nvPr>
            <p:ph type="ftr" sz="quarter" idx="11"/>
          </p:nvPr>
        </p:nvSpPr>
        <p:spPr/>
        <p:txBody>
          <a:bodyPr/>
          <a:lstStyle>
            <a:lvl1pPr>
              <a:defRPr/>
            </a:lvl1pPr>
          </a:lstStyle>
          <a:p>
            <a:pPr>
              <a:defRPr/>
            </a:pPr>
            <a:endParaRPr lang="fr-FR"/>
          </a:p>
        </p:txBody>
      </p:sp>
      <p:sp>
        <p:nvSpPr>
          <p:cNvPr id="7" name="Espace réservé du numéro de diapositive 5"/>
          <p:cNvSpPr>
            <a:spLocks noGrp="1"/>
          </p:cNvSpPr>
          <p:nvPr>
            <p:ph type="sldNum" sz="quarter" idx="12"/>
          </p:nvPr>
        </p:nvSpPr>
        <p:spPr/>
        <p:txBody>
          <a:bodyPr/>
          <a:lstStyle>
            <a:lvl1pPr>
              <a:defRPr/>
            </a:lvl1pPr>
          </a:lstStyle>
          <a:p>
            <a:pPr>
              <a:defRPr/>
            </a:pPr>
            <a:fld id="{E7A08BC2-DDF0-42FD-987D-FEBF53A9FC31}" type="slidenum">
              <a:rPr lang="fr-FR"/>
              <a:pPr>
                <a:defRPr/>
              </a:pPr>
              <a:t>‹Nr.›</a:t>
            </a:fld>
            <a:endParaRPr lang="fr-F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3"/>
          <p:cNvSpPr>
            <a:spLocks noGrp="1"/>
          </p:cNvSpPr>
          <p:nvPr>
            <p:ph type="dt" sz="half" idx="10"/>
          </p:nvPr>
        </p:nvSpPr>
        <p:spPr/>
        <p:txBody>
          <a:bodyPr/>
          <a:lstStyle>
            <a:lvl1pPr>
              <a:defRPr/>
            </a:lvl1pPr>
          </a:lstStyle>
          <a:p>
            <a:pPr>
              <a:defRPr/>
            </a:pPr>
            <a:endParaRPr lang="fr-FR"/>
          </a:p>
        </p:txBody>
      </p:sp>
      <p:sp>
        <p:nvSpPr>
          <p:cNvPr id="6" name="Espace réservé du pied de page 4"/>
          <p:cNvSpPr>
            <a:spLocks noGrp="1"/>
          </p:cNvSpPr>
          <p:nvPr>
            <p:ph type="ftr" sz="quarter" idx="11"/>
          </p:nvPr>
        </p:nvSpPr>
        <p:spPr/>
        <p:txBody>
          <a:bodyPr/>
          <a:lstStyle>
            <a:lvl1pPr>
              <a:defRPr/>
            </a:lvl1pPr>
          </a:lstStyle>
          <a:p>
            <a:pPr>
              <a:defRPr/>
            </a:pPr>
            <a:endParaRPr lang="fr-FR"/>
          </a:p>
        </p:txBody>
      </p:sp>
      <p:sp>
        <p:nvSpPr>
          <p:cNvPr id="7" name="Espace réservé du numéro de diapositive 5"/>
          <p:cNvSpPr>
            <a:spLocks noGrp="1"/>
          </p:cNvSpPr>
          <p:nvPr>
            <p:ph type="sldNum" sz="quarter" idx="12"/>
          </p:nvPr>
        </p:nvSpPr>
        <p:spPr/>
        <p:txBody>
          <a:bodyPr/>
          <a:lstStyle>
            <a:lvl1pPr>
              <a:defRPr/>
            </a:lvl1pPr>
          </a:lstStyle>
          <a:p>
            <a:pPr>
              <a:defRPr/>
            </a:pPr>
            <a:fld id="{13E123F7-2685-4527-8673-E48244BB21D1}" type="slidenum">
              <a:rPr lang="fr-FR"/>
              <a:pPr>
                <a:defRPr/>
              </a:pPr>
              <a:t>‹Nr.›</a:t>
            </a:fld>
            <a:endParaRPr lang="fr-F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Espace réservé du titre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1027" name="Espace réservé du texte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7E0D4B92-BA73-4D0E-B020-A62E11C62B94}" type="slidenum">
              <a:rPr lang="fr-FR"/>
              <a:pPr>
                <a:defRPr/>
              </a:pPr>
              <a:t>‹Nr.›</a:t>
            </a:fld>
            <a:endParaRPr lang="fr-FR"/>
          </a:p>
        </p:txBody>
      </p:sp>
    </p:spTree>
  </p:cSld>
  <p:clrMap bg1="lt1" tx1="dk1" bg2="lt2" tx2="dk2" accent1="accent1" accent2="accent2" accent3="accent3" accent4="accent4" accent5="accent5" accent6="accent6" hlink="hlink" folHlink="folHlink"/>
  <p:sldLayoutIdLst>
    <p:sldLayoutId id="2147483723" r:id="rId1"/>
    <p:sldLayoutId id="2147483722" r:id="rId2"/>
    <p:sldLayoutId id="2147483721" r:id="rId3"/>
    <p:sldLayoutId id="2147483720" r:id="rId4"/>
    <p:sldLayoutId id="2147483719" r:id="rId5"/>
    <p:sldLayoutId id="2147483718" r:id="rId6"/>
    <p:sldLayoutId id="2147483717" r:id="rId7"/>
    <p:sldLayoutId id="2147483716" r:id="rId8"/>
    <p:sldLayoutId id="2147483715" r:id="rId9"/>
    <p:sldLayoutId id="2147483714" r:id="rId10"/>
    <p:sldLayoutId id="2147483713" r:id="rId11"/>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
        <p:nvSpPr>
          <p:cNvPr id="13315"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Tree>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Lst>
  <p:hf hdr="0" ftr="0" dt="0"/>
  <p:txStyles>
    <p:titleStyle>
      <a:lvl1pPr algn="ctr" rtl="0" eaLnBrk="0" fontAlgn="base" hangingPunct="0">
        <a:spcBef>
          <a:spcPct val="0"/>
        </a:spcBef>
        <a:spcAft>
          <a:spcPct val="0"/>
        </a:spcAft>
        <a:defRPr sz="4400">
          <a:solidFill>
            <a:schemeClr val="tx2"/>
          </a:solidFill>
          <a:latin typeface="Arial" charset="0"/>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Arial" charset="0"/>
          <a:ea typeface="+mn-ea"/>
          <a:cs typeface="+mn-cs"/>
        </a:defRPr>
      </a:lvl1pPr>
      <a:lvl2pPr marL="742950" indent="-285750" algn="l" rtl="0" eaLnBrk="0" fontAlgn="base" hangingPunct="0">
        <a:spcBef>
          <a:spcPct val="20000"/>
        </a:spcBef>
        <a:spcAft>
          <a:spcPct val="0"/>
        </a:spcAft>
        <a:buChar char="–"/>
        <a:defRPr sz="2800">
          <a:solidFill>
            <a:schemeClr val="tx1"/>
          </a:solidFill>
          <a:latin typeface="Arial" charset="0"/>
        </a:defRPr>
      </a:lvl2pPr>
      <a:lvl3pPr marL="1143000" indent="-228600" algn="l" rtl="0" eaLnBrk="0" fontAlgn="base" hangingPunct="0">
        <a:spcBef>
          <a:spcPct val="20000"/>
        </a:spcBef>
        <a:spcAft>
          <a:spcPct val="0"/>
        </a:spcAft>
        <a:buChar char="•"/>
        <a:defRPr sz="2400">
          <a:solidFill>
            <a:schemeClr val="tx1"/>
          </a:solidFill>
          <a:latin typeface="Arial" charset="0"/>
        </a:defRPr>
      </a:lvl3pPr>
      <a:lvl4pPr marL="1600200" indent="-228600" algn="l" rtl="0" eaLnBrk="0" fontAlgn="base" hangingPunct="0">
        <a:spcBef>
          <a:spcPct val="20000"/>
        </a:spcBef>
        <a:spcAft>
          <a:spcPct val="0"/>
        </a:spcAft>
        <a:buChar char="–"/>
        <a:defRPr sz="2000">
          <a:solidFill>
            <a:schemeClr val="tx1"/>
          </a:solidFill>
          <a:latin typeface="Arial" charset="0"/>
        </a:defRPr>
      </a:lvl4pPr>
      <a:lvl5pPr marL="2057400" indent="-228600" algn="l" rtl="0" eaLnBrk="0" fontAlgn="base" hangingPunct="0">
        <a:spcBef>
          <a:spcPct val="20000"/>
        </a:spcBef>
        <a:spcAft>
          <a:spcPct val="0"/>
        </a:spcAft>
        <a:buChar char="»"/>
        <a:defRPr sz="2000">
          <a:solidFill>
            <a:schemeClr val="tx1"/>
          </a:solidFill>
          <a:latin typeface="Arial"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1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ekstin paikkamerkki 2"/>
          <p:cNvSpPr>
            <a:spLocks/>
          </p:cNvSpPr>
          <p:nvPr/>
        </p:nvSpPr>
        <p:spPr bwMode="auto">
          <a:xfrm>
            <a:off x="1682750" y="3644900"/>
            <a:ext cx="6840538" cy="1500188"/>
          </a:xfrm>
          <a:prstGeom prst="rect">
            <a:avLst/>
          </a:prstGeom>
          <a:noFill/>
          <a:ln w="9525">
            <a:noFill/>
            <a:miter lim="800000"/>
            <a:headEnd/>
            <a:tailEnd/>
          </a:ln>
        </p:spPr>
        <p:txBody>
          <a:bodyPr anchor="b"/>
          <a:lstStyle/>
          <a:p>
            <a:pPr eaLnBrk="0" hangingPunct="0">
              <a:lnSpc>
                <a:spcPct val="90000"/>
              </a:lnSpc>
              <a:spcBef>
                <a:spcPct val="20000"/>
              </a:spcBef>
              <a:defRPr/>
            </a:pPr>
            <a:r>
              <a:rPr lang="en-GB" sz="3200" b="1" dirty="0">
                <a:latin typeface="Tw Cen MT" pitchFamily="34" charset="0"/>
              </a:rPr>
              <a:t>NWE Intraday</a:t>
            </a:r>
          </a:p>
          <a:p>
            <a:pPr eaLnBrk="0" hangingPunct="0">
              <a:lnSpc>
                <a:spcPct val="90000"/>
              </a:lnSpc>
              <a:spcBef>
                <a:spcPct val="20000"/>
              </a:spcBef>
              <a:defRPr/>
            </a:pPr>
            <a:r>
              <a:rPr lang="en-GB" sz="2400" b="1" dirty="0">
                <a:solidFill>
                  <a:schemeClr val="bg2">
                    <a:lumMod val="50000"/>
                  </a:schemeClr>
                </a:solidFill>
                <a:latin typeface="Tw Cen MT" pitchFamily="34" charset="0"/>
              </a:rPr>
              <a:t>- Joint TSO and PX presentation -</a:t>
            </a:r>
          </a:p>
          <a:p>
            <a:pPr eaLnBrk="0" hangingPunct="0">
              <a:lnSpc>
                <a:spcPct val="90000"/>
              </a:lnSpc>
              <a:spcBef>
                <a:spcPct val="20000"/>
              </a:spcBef>
              <a:defRPr/>
            </a:pPr>
            <a:endParaRPr lang="en-GB" sz="3200" b="1" dirty="0">
              <a:latin typeface="Tw Cen MT" pitchFamily="34" charset="0"/>
            </a:endParaRPr>
          </a:p>
          <a:p>
            <a:pPr eaLnBrk="0" hangingPunct="0">
              <a:lnSpc>
                <a:spcPct val="90000"/>
              </a:lnSpc>
              <a:spcBef>
                <a:spcPct val="20000"/>
              </a:spcBef>
              <a:defRPr/>
            </a:pPr>
            <a:r>
              <a:rPr lang="en-GB" sz="2400" dirty="0">
                <a:latin typeface="Tw Cen MT" pitchFamily="34" charset="0"/>
              </a:rPr>
              <a:t>2011-12-09</a:t>
            </a:r>
          </a:p>
          <a:p>
            <a:pPr eaLnBrk="0" hangingPunct="0">
              <a:lnSpc>
                <a:spcPct val="90000"/>
              </a:lnSpc>
              <a:spcBef>
                <a:spcPct val="20000"/>
              </a:spcBef>
              <a:defRPr/>
            </a:pPr>
            <a:r>
              <a:rPr lang="en-GB" sz="2400" dirty="0">
                <a:latin typeface="Tw Cen MT" pitchFamily="34" charset="0"/>
              </a:rPr>
              <a:t>London</a:t>
            </a:r>
          </a:p>
          <a:p>
            <a:pPr eaLnBrk="0" hangingPunct="0">
              <a:lnSpc>
                <a:spcPct val="90000"/>
              </a:lnSpc>
              <a:spcBef>
                <a:spcPct val="20000"/>
              </a:spcBef>
              <a:defRPr/>
            </a:pPr>
            <a:endParaRPr lang="en-GB" sz="2400" dirty="0">
              <a:latin typeface="Tw Cen MT"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Titre 1"/>
          <p:cNvSpPr>
            <a:spLocks/>
          </p:cNvSpPr>
          <p:nvPr/>
        </p:nvSpPr>
        <p:spPr bwMode="auto">
          <a:xfrm>
            <a:off x="1619250" y="476250"/>
            <a:ext cx="7129463" cy="1143000"/>
          </a:xfrm>
          <a:prstGeom prst="rect">
            <a:avLst/>
          </a:prstGeom>
          <a:noFill/>
          <a:ln w="9525">
            <a:noFill/>
            <a:miter lim="800000"/>
            <a:headEnd/>
            <a:tailEnd/>
          </a:ln>
        </p:spPr>
        <p:txBody>
          <a:bodyPr anchor="b"/>
          <a:lstStyle/>
          <a:p>
            <a:pPr eaLnBrk="0" hangingPunct="0"/>
            <a:r>
              <a:rPr lang="fr-FR" sz="3200" b="1" dirty="0" smtClean="0">
                <a:solidFill>
                  <a:srgbClr val="7F7F7F"/>
                </a:solidFill>
                <a:latin typeface="Tw Cen MT" pitchFamily="34" charset="0"/>
              </a:rPr>
              <a:t>7. Challenges </a:t>
            </a:r>
            <a:r>
              <a:rPr lang="fr-FR" sz="3200" b="1" dirty="0" err="1" smtClean="0">
                <a:solidFill>
                  <a:srgbClr val="7F7F7F"/>
                </a:solidFill>
                <a:latin typeface="Tw Cen MT" pitchFamily="34" charset="0"/>
              </a:rPr>
              <a:t>ahead</a:t>
            </a:r>
            <a:endParaRPr lang="fr-FR" sz="2400" b="1" i="1" dirty="0">
              <a:solidFill>
                <a:srgbClr val="7F7F7F"/>
              </a:solidFill>
              <a:latin typeface="Tw Cen MT" pitchFamily="34" charset="0"/>
            </a:endParaRPr>
          </a:p>
        </p:txBody>
      </p:sp>
      <p:sp>
        <p:nvSpPr>
          <p:cNvPr id="13315" name="Suorakulmio 3"/>
          <p:cNvSpPr>
            <a:spLocks noChangeArrowheads="1"/>
          </p:cNvSpPr>
          <p:nvPr/>
        </p:nvSpPr>
        <p:spPr bwMode="auto">
          <a:xfrm>
            <a:off x="395288" y="1917987"/>
            <a:ext cx="8353425" cy="4074962"/>
          </a:xfrm>
          <a:prstGeom prst="rect">
            <a:avLst/>
          </a:prstGeom>
          <a:noFill/>
          <a:ln>
            <a:noFill/>
          </a:ln>
          <a:extLst/>
        </p:spPr>
        <p:txBody>
          <a:bodyPr>
            <a:spAutoFit/>
          </a:bodyPr>
          <a:lstStyle/>
          <a:p>
            <a:pPr marL="342900" lvl="0" indent="-342900">
              <a:lnSpc>
                <a:spcPct val="90000"/>
              </a:lnSpc>
              <a:spcBef>
                <a:spcPct val="10000"/>
              </a:spcBef>
              <a:buFontTx/>
              <a:buChar char="•"/>
            </a:pPr>
            <a:r>
              <a:rPr lang="fi-FI" dirty="0">
                <a:latin typeface="Tw Cen MT" pitchFamily="34" charset="0"/>
              </a:rPr>
              <a:t>Finalization of SOB/CMM concept and implementation of the single SOB/CMM solution including shipping arrangements</a:t>
            </a:r>
          </a:p>
          <a:p>
            <a:pPr marL="342900" indent="-342900">
              <a:lnSpc>
                <a:spcPct val="90000"/>
              </a:lnSpc>
              <a:spcBef>
                <a:spcPct val="10000"/>
              </a:spcBef>
              <a:buFontTx/>
              <a:buChar char="•"/>
            </a:pPr>
            <a:endParaRPr lang="en-US" dirty="0">
              <a:latin typeface="Tw Cen MT" pitchFamily="34" charset="0"/>
            </a:endParaRPr>
          </a:p>
          <a:p>
            <a:pPr marL="342900" indent="-342900">
              <a:lnSpc>
                <a:spcPct val="90000"/>
              </a:lnSpc>
              <a:spcBef>
                <a:spcPct val="10000"/>
              </a:spcBef>
              <a:buFontTx/>
              <a:buChar char="•"/>
            </a:pPr>
            <a:r>
              <a:rPr lang="en-US" dirty="0">
                <a:latin typeface="Tw Cen MT" pitchFamily="34" charset="0"/>
              </a:rPr>
              <a:t>Compatibility of the interim solution with the GB trading arrangements to be further evaluated</a:t>
            </a:r>
          </a:p>
          <a:p>
            <a:pPr marL="342900" lvl="0" indent="-342900">
              <a:lnSpc>
                <a:spcPct val="90000"/>
              </a:lnSpc>
              <a:spcBef>
                <a:spcPct val="10000"/>
              </a:spcBef>
              <a:buFontTx/>
              <a:buChar char="•"/>
            </a:pPr>
            <a:endParaRPr lang="fi-FI" dirty="0">
              <a:latin typeface="Tw Cen MT" pitchFamily="34" charset="0"/>
            </a:endParaRPr>
          </a:p>
          <a:p>
            <a:pPr marL="342900" lvl="0" indent="-342900">
              <a:lnSpc>
                <a:spcPct val="90000"/>
              </a:lnSpc>
              <a:spcBef>
                <a:spcPct val="10000"/>
              </a:spcBef>
              <a:buFontTx/>
              <a:buChar char="•"/>
            </a:pPr>
            <a:r>
              <a:rPr lang="fi-FI" dirty="0">
                <a:latin typeface="Tw Cen MT" pitchFamily="34" charset="0"/>
              </a:rPr>
              <a:t>Improvements for </a:t>
            </a:r>
            <a:r>
              <a:rPr lang="fi-FI" dirty="0">
                <a:latin typeface="Tw Cen MT" pitchFamily="34" charset="0"/>
              </a:rPr>
              <a:t>the enduring solution </a:t>
            </a:r>
            <a:r>
              <a:rPr lang="fi-FI" dirty="0">
                <a:latin typeface="Tw Cen MT" pitchFamily="34" charset="0"/>
              </a:rPr>
              <a:t>have </a:t>
            </a:r>
            <a:r>
              <a:rPr lang="fi-FI" dirty="0">
                <a:latin typeface="Tw Cen MT" pitchFamily="34" charset="0"/>
              </a:rPr>
              <a:t>to be </a:t>
            </a:r>
            <a:r>
              <a:rPr lang="fi-FI" dirty="0">
                <a:latin typeface="Tw Cen MT" pitchFamily="34" charset="0"/>
              </a:rPr>
              <a:t>designed</a:t>
            </a:r>
            <a:endParaRPr lang="fi-FI" dirty="0">
              <a:latin typeface="Tw Cen MT" pitchFamily="34" charset="0"/>
            </a:endParaRPr>
          </a:p>
          <a:p>
            <a:pPr marL="742950" lvl="1" indent="-285750">
              <a:lnSpc>
                <a:spcPct val="90000"/>
              </a:lnSpc>
              <a:spcBef>
                <a:spcPct val="10000"/>
              </a:spcBef>
              <a:buFont typeface="Arial" pitchFamily="34" charset="0"/>
              <a:buChar char="•"/>
            </a:pPr>
            <a:r>
              <a:rPr lang="nl-NL" dirty="0">
                <a:latin typeface="Tw Cen MT" pitchFamily="34" charset="0"/>
              </a:rPr>
              <a:t>Sophisticated products</a:t>
            </a:r>
          </a:p>
          <a:p>
            <a:pPr marL="742950" lvl="1" indent="-285750">
              <a:lnSpc>
                <a:spcPct val="90000"/>
              </a:lnSpc>
              <a:spcBef>
                <a:spcPct val="10000"/>
              </a:spcBef>
              <a:buFont typeface="Arial" pitchFamily="34" charset="0"/>
              <a:buChar char="•"/>
            </a:pPr>
            <a:r>
              <a:rPr lang="nl-NL" dirty="0">
                <a:latin typeface="Tw Cen MT" pitchFamily="34" charset="0"/>
              </a:rPr>
              <a:t>Pricing of intraday capacity</a:t>
            </a:r>
          </a:p>
          <a:p>
            <a:pPr marL="742950" lvl="1" indent="-285750">
              <a:lnSpc>
                <a:spcPct val="90000"/>
              </a:lnSpc>
              <a:spcBef>
                <a:spcPct val="10000"/>
              </a:spcBef>
              <a:buFont typeface="Arial" pitchFamily="34" charset="0"/>
              <a:buChar char="•"/>
            </a:pPr>
            <a:r>
              <a:rPr lang="nl-NL" dirty="0">
                <a:latin typeface="Tw Cen MT" pitchFamily="34" charset="0"/>
              </a:rPr>
              <a:t>Recalculation of </a:t>
            </a:r>
            <a:r>
              <a:rPr lang="nl-NL" dirty="0" err="1">
                <a:latin typeface="Tw Cen MT" pitchFamily="34" charset="0"/>
              </a:rPr>
              <a:t>intraday</a:t>
            </a:r>
            <a:r>
              <a:rPr lang="nl-NL" dirty="0">
                <a:latin typeface="Tw Cen MT" pitchFamily="34" charset="0"/>
              </a:rPr>
              <a:t> </a:t>
            </a:r>
            <a:r>
              <a:rPr lang="nl-NL" dirty="0" err="1">
                <a:latin typeface="Tw Cen MT" pitchFamily="34" charset="0"/>
              </a:rPr>
              <a:t>capacity</a:t>
            </a:r>
            <a:endParaRPr lang="nl-NL" dirty="0">
              <a:latin typeface="Tw Cen MT" pitchFamily="34" charset="0"/>
            </a:endParaRPr>
          </a:p>
          <a:p>
            <a:pPr marL="742950" lvl="1" indent="-285750">
              <a:lnSpc>
                <a:spcPct val="90000"/>
              </a:lnSpc>
              <a:spcBef>
                <a:spcPct val="10000"/>
              </a:spcBef>
              <a:buFontTx/>
              <a:buChar char="–"/>
            </a:pPr>
            <a:endParaRPr lang="nl-NL" dirty="0">
              <a:latin typeface="Tw Cen MT" pitchFamily="34" charset="0"/>
            </a:endParaRPr>
          </a:p>
          <a:p>
            <a:pPr marL="342900" lvl="0" indent="-342900">
              <a:lnSpc>
                <a:spcPct val="90000"/>
              </a:lnSpc>
              <a:spcBef>
                <a:spcPct val="10000"/>
              </a:spcBef>
              <a:buFont typeface="Arial" pitchFamily="34" charset="0"/>
              <a:buChar char="•"/>
            </a:pPr>
            <a:r>
              <a:rPr lang="fi-FI" dirty="0">
                <a:latin typeface="Tw Cen MT" pitchFamily="34" charset="0"/>
              </a:rPr>
              <a:t>European governance approach is under discussion and development</a:t>
            </a:r>
            <a:endParaRPr lang="nl-NL" dirty="0">
              <a:latin typeface="Tw Cen MT" pitchFamily="34" charset="0"/>
            </a:endParaRPr>
          </a:p>
          <a:p>
            <a:pPr marL="800100" lvl="1" indent="-342900">
              <a:lnSpc>
                <a:spcPct val="90000"/>
              </a:lnSpc>
              <a:spcBef>
                <a:spcPct val="10000"/>
              </a:spcBef>
              <a:buFont typeface="Arial" pitchFamily="34" charset="0"/>
              <a:buChar char="•"/>
            </a:pPr>
            <a:r>
              <a:rPr lang="en-US" dirty="0">
                <a:latin typeface="Tw Cen MT" pitchFamily="34" charset="0"/>
              </a:rPr>
              <a:t>Perform several local implementation projects in parallel considering the overall high level design </a:t>
            </a:r>
            <a:endParaRPr lang="fi-FI" dirty="0">
              <a:latin typeface="Tw Cen MT" pitchFamily="34" charset="0"/>
            </a:endParaRPr>
          </a:p>
          <a:p>
            <a:pPr marL="742950" lvl="1" indent="-285750">
              <a:lnSpc>
                <a:spcPct val="90000"/>
              </a:lnSpc>
              <a:spcBef>
                <a:spcPct val="10000"/>
              </a:spcBef>
              <a:buFontTx/>
              <a:buChar char="–"/>
            </a:pPr>
            <a:endParaRPr lang="en-US" sz="1400" kern="0" dirty="0">
              <a:solidFill>
                <a:srgbClr val="FF0000"/>
              </a:solidFill>
              <a:latin typeface="Tw Cen MT" pitchFamily="34" charset="0"/>
            </a:endParaRPr>
          </a:p>
        </p:txBody>
      </p:sp>
    </p:spTree>
    <p:extLst>
      <p:ext uri="{BB962C8B-B14F-4D97-AF65-F5344CB8AC3E}">
        <p14:creationId xmlns:p14="http://schemas.microsoft.com/office/powerpoint/2010/main" val="412253355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Tekstin paikkamerkki 2"/>
          <p:cNvSpPr>
            <a:spLocks/>
          </p:cNvSpPr>
          <p:nvPr/>
        </p:nvSpPr>
        <p:spPr bwMode="auto">
          <a:xfrm>
            <a:off x="1692275" y="2906713"/>
            <a:ext cx="6840538" cy="1500187"/>
          </a:xfrm>
          <a:prstGeom prst="rect">
            <a:avLst/>
          </a:prstGeom>
          <a:noFill/>
          <a:ln w="9525">
            <a:noFill/>
            <a:miter lim="800000"/>
            <a:headEnd/>
            <a:tailEnd/>
          </a:ln>
        </p:spPr>
        <p:txBody>
          <a:bodyPr anchor="b"/>
          <a:lstStyle/>
          <a:p>
            <a:pPr eaLnBrk="0" hangingPunct="0">
              <a:lnSpc>
                <a:spcPct val="90000"/>
              </a:lnSpc>
              <a:spcBef>
                <a:spcPct val="20000"/>
              </a:spcBef>
            </a:pPr>
            <a:r>
              <a:rPr lang="en-GB" sz="3200" b="1">
                <a:latin typeface="Tw Cen MT" pitchFamily="34" charset="0"/>
              </a:rPr>
              <a:t>Thanks for your attention!</a:t>
            </a:r>
          </a:p>
          <a:p>
            <a:pPr eaLnBrk="0" hangingPunct="0">
              <a:lnSpc>
                <a:spcPct val="90000"/>
              </a:lnSpc>
              <a:spcBef>
                <a:spcPct val="20000"/>
              </a:spcBef>
            </a:pPr>
            <a:endParaRPr lang="en-GB" sz="3200" b="1">
              <a:latin typeface="Tw Cen MT"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Rectangle 4"/>
          <p:cNvSpPr txBox="1">
            <a:spLocks noChangeArrowheads="1"/>
          </p:cNvSpPr>
          <p:nvPr/>
        </p:nvSpPr>
        <p:spPr bwMode="auto">
          <a:xfrm>
            <a:off x="6927850" y="1209675"/>
            <a:ext cx="2149475" cy="449263"/>
          </a:xfrm>
          <a:prstGeom prst="rect">
            <a:avLst/>
          </a:prstGeom>
          <a:noFill/>
          <a:ln w="9525">
            <a:noFill/>
            <a:miter lim="800000"/>
            <a:headEnd/>
            <a:tailEnd/>
          </a:ln>
        </p:spPr>
        <p:txBody>
          <a:bodyPr anchor="ctr"/>
          <a:lstStyle/>
          <a:p>
            <a:r>
              <a:rPr lang="en-US" sz="1400">
                <a:solidFill>
                  <a:schemeClr val="tx2"/>
                </a:solidFill>
                <a:cs typeface="Arial" charset="0"/>
              </a:rPr>
              <a:t>Situation as of May 2011</a:t>
            </a:r>
            <a:endParaRPr lang="en-GB" sz="1400">
              <a:solidFill>
                <a:schemeClr val="tx2"/>
              </a:solidFill>
              <a:cs typeface="Arial" charset="0"/>
            </a:endParaRPr>
          </a:p>
        </p:txBody>
      </p:sp>
      <p:sp>
        <p:nvSpPr>
          <p:cNvPr id="41986" name="Freeform 138"/>
          <p:cNvSpPr>
            <a:spLocks/>
          </p:cNvSpPr>
          <p:nvPr/>
        </p:nvSpPr>
        <p:spPr bwMode="auto">
          <a:xfrm>
            <a:off x="3127375" y="4478338"/>
            <a:ext cx="635000" cy="628650"/>
          </a:xfrm>
          <a:custGeom>
            <a:avLst/>
            <a:gdLst>
              <a:gd name="T0" fmla="*/ 0 w 1584"/>
              <a:gd name="T1" fmla="*/ 2147483647 h 1408"/>
              <a:gd name="T2" fmla="*/ 2147483647 w 1584"/>
              <a:gd name="T3" fmla="*/ 0 h 1408"/>
              <a:gd name="T4" fmla="*/ 2147483647 w 1584"/>
              <a:gd name="T5" fmla="*/ 0 h 1408"/>
              <a:gd name="T6" fmla="*/ 2147483647 w 1584"/>
              <a:gd name="T7" fmla="*/ 0 h 1408"/>
              <a:gd name="T8" fmla="*/ 2147483647 w 1584"/>
              <a:gd name="T9" fmla="*/ 2147483647 h 1408"/>
              <a:gd name="T10" fmla="*/ 2147483647 w 1584"/>
              <a:gd name="T11" fmla="*/ 2147483647 h 1408"/>
              <a:gd name="T12" fmla="*/ 2147483647 w 1584"/>
              <a:gd name="T13" fmla="*/ 2147483647 h 1408"/>
              <a:gd name="T14" fmla="*/ 2147483647 w 1584"/>
              <a:gd name="T15" fmla="*/ 2147483647 h 1408"/>
              <a:gd name="T16" fmla="*/ 2147483647 w 1584"/>
              <a:gd name="T17" fmla="*/ 2147483647 h 1408"/>
              <a:gd name="T18" fmla="*/ 2147483647 w 1584"/>
              <a:gd name="T19" fmla="*/ 2147483647 h 1408"/>
              <a:gd name="T20" fmla="*/ 0 w 1584"/>
              <a:gd name="T21" fmla="*/ 2147483647 h 1408"/>
              <a:gd name="T22" fmla="*/ 0 w 1584"/>
              <a:gd name="T23" fmla="*/ 2147483647 h 140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84"/>
              <a:gd name="T37" fmla="*/ 0 h 1408"/>
              <a:gd name="T38" fmla="*/ 1584 w 1584"/>
              <a:gd name="T39" fmla="*/ 1408 h 140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84" h="1408">
                <a:moveTo>
                  <a:pt x="0" y="704"/>
                </a:moveTo>
                <a:cubicBezTo>
                  <a:pt x="0" y="316"/>
                  <a:pt x="355" y="0"/>
                  <a:pt x="792" y="0"/>
                </a:cubicBezTo>
                <a:cubicBezTo>
                  <a:pt x="792" y="0"/>
                  <a:pt x="792" y="0"/>
                  <a:pt x="792" y="0"/>
                </a:cubicBezTo>
                <a:cubicBezTo>
                  <a:pt x="1230" y="0"/>
                  <a:pt x="1584" y="316"/>
                  <a:pt x="1584" y="704"/>
                </a:cubicBezTo>
                <a:cubicBezTo>
                  <a:pt x="1584" y="704"/>
                  <a:pt x="1584" y="704"/>
                  <a:pt x="1584" y="704"/>
                </a:cubicBezTo>
                <a:cubicBezTo>
                  <a:pt x="1584" y="1093"/>
                  <a:pt x="1230" y="1408"/>
                  <a:pt x="792" y="1408"/>
                </a:cubicBezTo>
                <a:cubicBezTo>
                  <a:pt x="792" y="1408"/>
                  <a:pt x="792" y="1408"/>
                  <a:pt x="792" y="1408"/>
                </a:cubicBezTo>
                <a:cubicBezTo>
                  <a:pt x="355" y="1408"/>
                  <a:pt x="0" y="1093"/>
                  <a:pt x="0" y="704"/>
                </a:cubicBezTo>
                <a:cubicBezTo>
                  <a:pt x="0" y="704"/>
                  <a:pt x="0" y="704"/>
                  <a:pt x="0" y="704"/>
                </a:cubicBezTo>
                <a:close/>
              </a:path>
            </a:pathLst>
          </a:custGeom>
          <a:solidFill>
            <a:srgbClr val="D1D1F0"/>
          </a:solidFill>
          <a:ln w="19050">
            <a:solidFill>
              <a:srgbClr val="000000"/>
            </a:solidFill>
            <a:round/>
            <a:headEnd/>
            <a:tailEnd/>
          </a:ln>
        </p:spPr>
        <p:txBody>
          <a:bodyPr/>
          <a:lstStyle/>
          <a:p>
            <a:endParaRPr lang="en-US"/>
          </a:p>
        </p:txBody>
      </p:sp>
      <p:sp>
        <p:nvSpPr>
          <p:cNvPr id="41987" name="Freeform 126"/>
          <p:cNvSpPr>
            <a:spLocks/>
          </p:cNvSpPr>
          <p:nvPr/>
        </p:nvSpPr>
        <p:spPr bwMode="auto">
          <a:xfrm>
            <a:off x="4768850" y="3462338"/>
            <a:ext cx="307975" cy="288925"/>
          </a:xfrm>
          <a:custGeom>
            <a:avLst/>
            <a:gdLst>
              <a:gd name="T0" fmla="*/ 0 w 1360"/>
              <a:gd name="T1" fmla="*/ 2147483647 h 1360"/>
              <a:gd name="T2" fmla="*/ 2147483647 w 1360"/>
              <a:gd name="T3" fmla="*/ 0 h 1360"/>
              <a:gd name="T4" fmla="*/ 2147483647 w 1360"/>
              <a:gd name="T5" fmla="*/ 0 h 1360"/>
              <a:gd name="T6" fmla="*/ 2147483647 w 1360"/>
              <a:gd name="T7" fmla="*/ 0 h 1360"/>
              <a:gd name="T8" fmla="*/ 2147483647 w 1360"/>
              <a:gd name="T9" fmla="*/ 2147483647 h 1360"/>
              <a:gd name="T10" fmla="*/ 2147483647 w 1360"/>
              <a:gd name="T11" fmla="*/ 2147483647 h 1360"/>
              <a:gd name="T12" fmla="*/ 2147483647 w 1360"/>
              <a:gd name="T13" fmla="*/ 2147483647 h 1360"/>
              <a:gd name="T14" fmla="*/ 2147483647 w 1360"/>
              <a:gd name="T15" fmla="*/ 2147483647 h 1360"/>
              <a:gd name="T16" fmla="*/ 2147483647 w 1360"/>
              <a:gd name="T17" fmla="*/ 2147483647 h 1360"/>
              <a:gd name="T18" fmla="*/ 2147483647 w 1360"/>
              <a:gd name="T19" fmla="*/ 2147483647 h 1360"/>
              <a:gd name="T20" fmla="*/ 0 w 1360"/>
              <a:gd name="T21" fmla="*/ 2147483647 h 1360"/>
              <a:gd name="T22" fmla="*/ 0 w 1360"/>
              <a:gd name="T23" fmla="*/ 2147483647 h 13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60"/>
              <a:gd name="T37" fmla="*/ 0 h 1360"/>
              <a:gd name="T38" fmla="*/ 1360 w 1360"/>
              <a:gd name="T39" fmla="*/ 1360 h 13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60" h="1360">
                <a:moveTo>
                  <a:pt x="0" y="680"/>
                </a:moveTo>
                <a:cubicBezTo>
                  <a:pt x="0" y="305"/>
                  <a:pt x="305" y="0"/>
                  <a:pt x="680" y="0"/>
                </a:cubicBezTo>
                <a:cubicBezTo>
                  <a:pt x="680" y="0"/>
                  <a:pt x="680" y="0"/>
                  <a:pt x="680" y="0"/>
                </a:cubicBezTo>
                <a:cubicBezTo>
                  <a:pt x="1056" y="0"/>
                  <a:pt x="1360" y="305"/>
                  <a:pt x="1360" y="680"/>
                </a:cubicBezTo>
                <a:cubicBezTo>
                  <a:pt x="1360" y="680"/>
                  <a:pt x="1360" y="680"/>
                  <a:pt x="1360" y="680"/>
                </a:cubicBezTo>
                <a:cubicBezTo>
                  <a:pt x="1360" y="1056"/>
                  <a:pt x="1056" y="1360"/>
                  <a:pt x="680" y="1360"/>
                </a:cubicBezTo>
                <a:cubicBezTo>
                  <a:pt x="680" y="1360"/>
                  <a:pt x="680" y="1360"/>
                  <a:pt x="680" y="1360"/>
                </a:cubicBezTo>
                <a:cubicBezTo>
                  <a:pt x="305" y="1360"/>
                  <a:pt x="0" y="1056"/>
                  <a:pt x="0" y="680"/>
                </a:cubicBezTo>
                <a:cubicBezTo>
                  <a:pt x="0" y="680"/>
                  <a:pt x="0" y="680"/>
                  <a:pt x="0" y="680"/>
                </a:cubicBezTo>
                <a:close/>
              </a:path>
            </a:pathLst>
          </a:custGeom>
          <a:solidFill>
            <a:srgbClr val="FF8000"/>
          </a:solidFill>
          <a:ln w="0">
            <a:solidFill>
              <a:srgbClr val="000000"/>
            </a:solidFill>
            <a:round/>
            <a:headEnd/>
            <a:tailEnd/>
          </a:ln>
        </p:spPr>
        <p:txBody>
          <a:bodyPr/>
          <a:lstStyle/>
          <a:p>
            <a:endParaRPr lang="en-US"/>
          </a:p>
        </p:txBody>
      </p:sp>
      <p:sp>
        <p:nvSpPr>
          <p:cNvPr id="41988" name="Freeform 126"/>
          <p:cNvSpPr>
            <a:spLocks/>
          </p:cNvSpPr>
          <p:nvPr/>
        </p:nvSpPr>
        <p:spPr bwMode="auto">
          <a:xfrm>
            <a:off x="5343525" y="3109913"/>
            <a:ext cx="527050" cy="492125"/>
          </a:xfrm>
          <a:custGeom>
            <a:avLst/>
            <a:gdLst>
              <a:gd name="T0" fmla="*/ 0 w 1360"/>
              <a:gd name="T1" fmla="*/ 2147483647 h 1360"/>
              <a:gd name="T2" fmla="*/ 2147483647 w 1360"/>
              <a:gd name="T3" fmla="*/ 0 h 1360"/>
              <a:gd name="T4" fmla="*/ 2147483647 w 1360"/>
              <a:gd name="T5" fmla="*/ 0 h 1360"/>
              <a:gd name="T6" fmla="*/ 2147483647 w 1360"/>
              <a:gd name="T7" fmla="*/ 0 h 1360"/>
              <a:gd name="T8" fmla="*/ 2147483647 w 1360"/>
              <a:gd name="T9" fmla="*/ 2147483647 h 1360"/>
              <a:gd name="T10" fmla="*/ 2147483647 w 1360"/>
              <a:gd name="T11" fmla="*/ 2147483647 h 1360"/>
              <a:gd name="T12" fmla="*/ 2147483647 w 1360"/>
              <a:gd name="T13" fmla="*/ 2147483647 h 1360"/>
              <a:gd name="T14" fmla="*/ 2147483647 w 1360"/>
              <a:gd name="T15" fmla="*/ 2147483647 h 1360"/>
              <a:gd name="T16" fmla="*/ 2147483647 w 1360"/>
              <a:gd name="T17" fmla="*/ 2147483647 h 1360"/>
              <a:gd name="T18" fmla="*/ 2147483647 w 1360"/>
              <a:gd name="T19" fmla="*/ 2147483647 h 1360"/>
              <a:gd name="T20" fmla="*/ 0 w 1360"/>
              <a:gd name="T21" fmla="*/ 2147483647 h 1360"/>
              <a:gd name="T22" fmla="*/ 0 w 1360"/>
              <a:gd name="T23" fmla="*/ 2147483647 h 13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60"/>
              <a:gd name="T37" fmla="*/ 0 h 1360"/>
              <a:gd name="T38" fmla="*/ 1360 w 1360"/>
              <a:gd name="T39" fmla="*/ 1360 h 13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60" h="1360">
                <a:moveTo>
                  <a:pt x="0" y="680"/>
                </a:moveTo>
                <a:cubicBezTo>
                  <a:pt x="0" y="305"/>
                  <a:pt x="305" y="0"/>
                  <a:pt x="680" y="0"/>
                </a:cubicBezTo>
                <a:cubicBezTo>
                  <a:pt x="680" y="0"/>
                  <a:pt x="680" y="0"/>
                  <a:pt x="680" y="0"/>
                </a:cubicBezTo>
                <a:cubicBezTo>
                  <a:pt x="1056" y="0"/>
                  <a:pt x="1360" y="305"/>
                  <a:pt x="1360" y="680"/>
                </a:cubicBezTo>
                <a:cubicBezTo>
                  <a:pt x="1360" y="680"/>
                  <a:pt x="1360" y="680"/>
                  <a:pt x="1360" y="680"/>
                </a:cubicBezTo>
                <a:cubicBezTo>
                  <a:pt x="1360" y="1056"/>
                  <a:pt x="1056" y="1360"/>
                  <a:pt x="680" y="1360"/>
                </a:cubicBezTo>
                <a:cubicBezTo>
                  <a:pt x="680" y="1360"/>
                  <a:pt x="680" y="1360"/>
                  <a:pt x="680" y="1360"/>
                </a:cubicBezTo>
                <a:cubicBezTo>
                  <a:pt x="305" y="1360"/>
                  <a:pt x="0" y="1056"/>
                  <a:pt x="0" y="680"/>
                </a:cubicBezTo>
                <a:cubicBezTo>
                  <a:pt x="0" y="680"/>
                  <a:pt x="0" y="680"/>
                  <a:pt x="0" y="680"/>
                </a:cubicBezTo>
                <a:close/>
              </a:path>
            </a:pathLst>
          </a:custGeom>
          <a:solidFill>
            <a:srgbClr val="FF8000"/>
          </a:solidFill>
          <a:ln w="0">
            <a:solidFill>
              <a:srgbClr val="000000"/>
            </a:solidFill>
            <a:round/>
            <a:headEnd/>
            <a:tailEnd/>
          </a:ln>
        </p:spPr>
        <p:txBody>
          <a:bodyPr/>
          <a:lstStyle/>
          <a:p>
            <a:endParaRPr lang="en-US"/>
          </a:p>
        </p:txBody>
      </p:sp>
      <p:sp>
        <p:nvSpPr>
          <p:cNvPr id="41989" name="Freeform 13"/>
          <p:cNvSpPr>
            <a:spLocks/>
          </p:cNvSpPr>
          <p:nvPr/>
        </p:nvSpPr>
        <p:spPr bwMode="auto">
          <a:xfrm>
            <a:off x="5986463" y="1885950"/>
            <a:ext cx="349250" cy="371475"/>
          </a:xfrm>
          <a:custGeom>
            <a:avLst/>
            <a:gdLst>
              <a:gd name="T0" fmla="*/ 0 w 784"/>
              <a:gd name="T1" fmla="*/ 2147483647 h 832"/>
              <a:gd name="T2" fmla="*/ 2147483647 w 784"/>
              <a:gd name="T3" fmla="*/ 0 h 832"/>
              <a:gd name="T4" fmla="*/ 2147483647 w 784"/>
              <a:gd name="T5" fmla="*/ 0 h 832"/>
              <a:gd name="T6" fmla="*/ 2147483647 w 784"/>
              <a:gd name="T7" fmla="*/ 0 h 832"/>
              <a:gd name="T8" fmla="*/ 2147483647 w 784"/>
              <a:gd name="T9" fmla="*/ 2147483647 h 832"/>
              <a:gd name="T10" fmla="*/ 2147483647 w 784"/>
              <a:gd name="T11" fmla="*/ 2147483647 h 832"/>
              <a:gd name="T12" fmla="*/ 2147483647 w 784"/>
              <a:gd name="T13" fmla="*/ 2147483647 h 832"/>
              <a:gd name="T14" fmla="*/ 2147483647 w 784"/>
              <a:gd name="T15" fmla="*/ 2147483647 h 832"/>
              <a:gd name="T16" fmla="*/ 2147483647 w 784"/>
              <a:gd name="T17" fmla="*/ 2147483647 h 832"/>
              <a:gd name="T18" fmla="*/ 2147483647 w 784"/>
              <a:gd name="T19" fmla="*/ 2147483647 h 832"/>
              <a:gd name="T20" fmla="*/ 0 w 784"/>
              <a:gd name="T21" fmla="*/ 2147483647 h 832"/>
              <a:gd name="T22" fmla="*/ 0 w 784"/>
              <a:gd name="T23" fmla="*/ 2147483647 h 8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4"/>
              <a:gd name="T37" fmla="*/ 0 h 832"/>
              <a:gd name="T38" fmla="*/ 784 w 784"/>
              <a:gd name="T39" fmla="*/ 832 h 8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4" h="832">
                <a:moveTo>
                  <a:pt x="0" y="416"/>
                </a:moveTo>
                <a:cubicBezTo>
                  <a:pt x="0" y="187"/>
                  <a:pt x="176" y="0"/>
                  <a:pt x="392" y="0"/>
                </a:cubicBezTo>
                <a:cubicBezTo>
                  <a:pt x="392" y="0"/>
                  <a:pt x="392" y="0"/>
                  <a:pt x="392" y="0"/>
                </a:cubicBezTo>
                <a:cubicBezTo>
                  <a:pt x="609" y="0"/>
                  <a:pt x="784" y="187"/>
                  <a:pt x="784" y="416"/>
                </a:cubicBezTo>
                <a:cubicBezTo>
                  <a:pt x="784" y="416"/>
                  <a:pt x="784" y="416"/>
                  <a:pt x="784" y="416"/>
                </a:cubicBezTo>
                <a:cubicBezTo>
                  <a:pt x="784" y="646"/>
                  <a:pt x="609" y="832"/>
                  <a:pt x="392" y="832"/>
                </a:cubicBezTo>
                <a:cubicBezTo>
                  <a:pt x="392" y="832"/>
                  <a:pt x="392" y="832"/>
                  <a:pt x="392" y="832"/>
                </a:cubicBezTo>
                <a:cubicBezTo>
                  <a:pt x="176" y="832"/>
                  <a:pt x="0" y="646"/>
                  <a:pt x="0" y="416"/>
                </a:cubicBezTo>
                <a:cubicBezTo>
                  <a:pt x="0" y="416"/>
                  <a:pt x="0" y="416"/>
                  <a:pt x="0" y="416"/>
                </a:cubicBezTo>
                <a:close/>
              </a:path>
            </a:pathLst>
          </a:custGeom>
          <a:solidFill>
            <a:srgbClr val="FF0000"/>
          </a:solidFill>
          <a:ln w="0">
            <a:solidFill>
              <a:srgbClr val="000000"/>
            </a:solidFill>
            <a:round/>
            <a:headEnd/>
            <a:tailEnd/>
          </a:ln>
        </p:spPr>
        <p:txBody>
          <a:bodyPr/>
          <a:lstStyle/>
          <a:p>
            <a:endParaRPr lang="en-US"/>
          </a:p>
        </p:txBody>
      </p:sp>
      <p:grpSp>
        <p:nvGrpSpPr>
          <p:cNvPr id="41990" name="Group 205"/>
          <p:cNvGrpSpPr>
            <a:grpSpLocks/>
          </p:cNvGrpSpPr>
          <p:nvPr/>
        </p:nvGrpSpPr>
        <p:grpSpPr bwMode="auto">
          <a:xfrm>
            <a:off x="717550" y="1885950"/>
            <a:ext cx="7378700" cy="4837113"/>
            <a:chOff x="727" y="709"/>
            <a:chExt cx="4648" cy="3047"/>
          </a:xfrm>
        </p:grpSpPr>
        <p:sp>
          <p:nvSpPr>
            <p:cNvPr id="42025" name="Freeform 5"/>
            <p:cNvSpPr>
              <a:spLocks/>
            </p:cNvSpPr>
            <p:nvPr/>
          </p:nvSpPr>
          <p:spPr bwMode="auto">
            <a:xfrm>
              <a:off x="3516" y="1013"/>
              <a:ext cx="220" cy="234"/>
            </a:xfrm>
            <a:custGeom>
              <a:avLst/>
              <a:gdLst>
                <a:gd name="T0" fmla="*/ 0 w 784"/>
                <a:gd name="T1" fmla="*/ 9 h 832"/>
                <a:gd name="T2" fmla="*/ 9 w 784"/>
                <a:gd name="T3" fmla="*/ 0 h 832"/>
                <a:gd name="T4" fmla="*/ 9 w 784"/>
                <a:gd name="T5" fmla="*/ 0 h 832"/>
                <a:gd name="T6" fmla="*/ 9 w 784"/>
                <a:gd name="T7" fmla="*/ 0 h 832"/>
                <a:gd name="T8" fmla="*/ 17 w 784"/>
                <a:gd name="T9" fmla="*/ 9 h 832"/>
                <a:gd name="T10" fmla="*/ 17 w 784"/>
                <a:gd name="T11" fmla="*/ 9 h 832"/>
                <a:gd name="T12" fmla="*/ 17 w 784"/>
                <a:gd name="T13" fmla="*/ 9 h 832"/>
                <a:gd name="T14" fmla="*/ 9 w 784"/>
                <a:gd name="T15" fmla="*/ 19 h 832"/>
                <a:gd name="T16" fmla="*/ 9 w 784"/>
                <a:gd name="T17" fmla="*/ 19 h 832"/>
                <a:gd name="T18" fmla="*/ 9 w 784"/>
                <a:gd name="T19" fmla="*/ 19 h 832"/>
                <a:gd name="T20" fmla="*/ 0 w 784"/>
                <a:gd name="T21" fmla="*/ 9 h 832"/>
                <a:gd name="T22" fmla="*/ 0 w 784"/>
                <a:gd name="T23" fmla="*/ 9 h 8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4"/>
                <a:gd name="T37" fmla="*/ 0 h 832"/>
                <a:gd name="T38" fmla="*/ 784 w 784"/>
                <a:gd name="T39" fmla="*/ 832 h 8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4" h="832">
                  <a:moveTo>
                    <a:pt x="0" y="416"/>
                  </a:moveTo>
                  <a:cubicBezTo>
                    <a:pt x="0" y="187"/>
                    <a:pt x="176" y="0"/>
                    <a:pt x="392" y="0"/>
                  </a:cubicBezTo>
                  <a:cubicBezTo>
                    <a:pt x="392" y="0"/>
                    <a:pt x="392" y="0"/>
                    <a:pt x="392" y="0"/>
                  </a:cubicBezTo>
                  <a:cubicBezTo>
                    <a:pt x="609" y="0"/>
                    <a:pt x="784" y="187"/>
                    <a:pt x="784" y="416"/>
                  </a:cubicBezTo>
                  <a:cubicBezTo>
                    <a:pt x="784" y="416"/>
                    <a:pt x="784" y="416"/>
                    <a:pt x="784" y="416"/>
                  </a:cubicBezTo>
                  <a:cubicBezTo>
                    <a:pt x="784" y="646"/>
                    <a:pt x="609" y="832"/>
                    <a:pt x="392" y="832"/>
                  </a:cubicBezTo>
                  <a:cubicBezTo>
                    <a:pt x="392" y="832"/>
                    <a:pt x="392" y="832"/>
                    <a:pt x="392" y="832"/>
                  </a:cubicBezTo>
                  <a:cubicBezTo>
                    <a:pt x="176" y="832"/>
                    <a:pt x="0" y="646"/>
                    <a:pt x="0" y="416"/>
                  </a:cubicBezTo>
                  <a:cubicBezTo>
                    <a:pt x="0" y="416"/>
                    <a:pt x="0" y="416"/>
                    <a:pt x="0" y="416"/>
                  </a:cubicBezTo>
                  <a:close/>
                </a:path>
              </a:pathLst>
            </a:custGeom>
            <a:solidFill>
              <a:srgbClr val="FFCC99"/>
            </a:solidFill>
            <a:ln w="0">
              <a:solidFill>
                <a:srgbClr val="000000"/>
              </a:solidFill>
              <a:round/>
              <a:headEnd/>
              <a:tailEnd/>
            </a:ln>
          </p:spPr>
          <p:txBody>
            <a:bodyPr/>
            <a:lstStyle/>
            <a:p>
              <a:endParaRPr lang="en-US"/>
            </a:p>
          </p:txBody>
        </p:sp>
        <p:sp>
          <p:nvSpPr>
            <p:cNvPr id="42026" name="Freeform 6"/>
            <p:cNvSpPr>
              <a:spLocks noEditPoints="1"/>
            </p:cNvSpPr>
            <p:nvPr/>
          </p:nvSpPr>
          <p:spPr bwMode="auto">
            <a:xfrm>
              <a:off x="3513" y="1010"/>
              <a:ext cx="225" cy="239"/>
            </a:xfrm>
            <a:custGeom>
              <a:avLst/>
              <a:gdLst>
                <a:gd name="T0" fmla="*/ 0 w 800"/>
                <a:gd name="T1" fmla="*/ 8 h 848"/>
                <a:gd name="T2" fmla="*/ 1 w 800"/>
                <a:gd name="T3" fmla="*/ 6 h 848"/>
                <a:gd name="T4" fmla="*/ 3 w 800"/>
                <a:gd name="T5" fmla="*/ 3 h 848"/>
                <a:gd name="T6" fmla="*/ 4 w 800"/>
                <a:gd name="T7" fmla="*/ 2 h 848"/>
                <a:gd name="T8" fmla="*/ 7 w 800"/>
                <a:gd name="T9" fmla="*/ 0 h 848"/>
                <a:gd name="T10" fmla="*/ 9 w 800"/>
                <a:gd name="T11" fmla="*/ 0 h 848"/>
                <a:gd name="T12" fmla="*/ 12 w 800"/>
                <a:gd name="T13" fmla="*/ 1 h 848"/>
                <a:gd name="T14" fmla="*/ 14 w 800"/>
                <a:gd name="T15" fmla="*/ 2 h 848"/>
                <a:gd name="T16" fmla="*/ 16 w 800"/>
                <a:gd name="T17" fmla="*/ 4 h 848"/>
                <a:gd name="T18" fmla="*/ 17 w 800"/>
                <a:gd name="T19" fmla="*/ 6 h 848"/>
                <a:gd name="T20" fmla="*/ 18 w 800"/>
                <a:gd name="T21" fmla="*/ 10 h 848"/>
                <a:gd name="T22" fmla="*/ 18 w 800"/>
                <a:gd name="T23" fmla="*/ 12 h 848"/>
                <a:gd name="T24" fmla="*/ 16 w 800"/>
                <a:gd name="T25" fmla="*/ 15 h 848"/>
                <a:gd name="T26" fmla="*/ 15 w 800"/>
                <a:gd name="T27" fmla="*/ 16 h 848"/>
                <a:gd name="T28" fmla="*/ 12 w 800"/>
                <a:gd name="T29" fmla="*/ 18 h 848"/>
                <a:gd name="T30" fmla="*/ 11 w 800"/>
                <a:gd name="T31" fmla="*/ 19 h 848"/>
                <a:gd name="T32" fmla="*/ 7 w 800"/>
                <a:gd name="T33" fmla="*/ 19 h 848"/>
                <a:gd name="T34" fmla="*/ 5 w 800"/>
                <a:gd name="T35" fmla="*/ 18 h 848"/>
                <a:gd name="T36" fmla="*/ 3 w 800"/>
                <a:gd name="T37" fmla="*/ 16 h 848"/>
                <a:gd name="T38" fmla="*/ 1 w 800"/>
                <a:gd name="T39" fmla="*/ 15 h 848"/>
                <a:gd name="T40" fmla="*/ 0 w 800"/>
                <a:gd name="T41" fmla="*/ 12 h 848"/>
                <a:gd name="T42" fmla="*/ 1 w 800"/>
                <a:gd name="T43" fmla="*/ 11 h 848"/>
                <a:gd name="T44" fmla="*/ 1 w 800"/>
                <a:gd name="T45" fmla="*/ 13 h 848"/>
                <a:gd name="T46" fmla="*/ 3 w 800"/>
                <a:gd name="T47" fmla="*/ 16 h 848"/>
                <a:gd name="T48" fmla="*/ 4 w 800"/>
                <a:gd name="T49" fmla="*/ 17 h 848"/>
                <a:gd name="T50" fmla="*/ 7 w 800"/>
                <a:gd name="T51" fmla="*/ 19 h 848"/>
                <a:gd name="T52" fmla="*/ 9 w 800"/>
                <a:gd name="T53" fmla="*/ 19 h 848"/>
                <a:gd name="T54" fmla="*/ 12 w 800"/>
                <a:gd name="T55" fmla="*/ 18 h 848"/>
                <a:gd name="T56" fmla="*/ 14 w 800"/>
                <a:gd name="T57" fmla="*/ 17 h 848"/>
                <a:gd name="T58" fmla="*/ 16 w 800"/>
                <a:gd name="T59" fmla="*/ 15 h 848"/>
                <a:gd name="T60" fmla="*/ 17 w 800"/>
                <a:gd name="T61" fmla="*/ 13 h 848"/>
                <a:gd name="T62" fmla="*/ 17 w 800"/>
                <a:gd name="T63" fmla="*/ 10 h 848"/>
                <a:gd name="T64" fmla="*/ 17 w 800"/>
                <a:gd name="T65" fmla="*/ 8 h 848"/>
                <a:gd name="T66" fmla="*/ 16 w 800"/>
                <a:gd name="T67" fmla="*/ 5 h 848"/>
                <a:gd name="T68" fmla="*/ 15 w 800"/>
                <a:gd name="T69" fmla="*/ 3 h 848"/>
                <a:gd name="T70" fmla="*/ 12 w 800"/>
                <a:gd name="T71" fmla="*/ 1 h 848"/>
                <a:gd name="T72" fmla="*/ 11 w 800"/>
                <a:gd name="T73" fmla="*/ 1 h 848"/>
                <a:gd name="T74" fmla="*/ 7 w 800"/>
                <a:gd name="T75" fmla="*/ 1 h 848"/>
                <a:gd name="T76" fmla="*/ 6 w 800"/>
                <a:gd name="T77" fmla="*/ 1 h 848"/>
                <a:gd name="T78" fmla="*/ 3 w 800"/>
                <a:gd name="T79" fmla="*/ 3 h 848"/>
                <a:gd name="T80" fmla="*/ 2 w 800"/>
                <a:gd name="T81" fmla="*/ 5 h 848"/>
                <a:gd name="T82" fmla="*/ 1 w 800"/>
                <a:gd name="T83" fmla="*/ 8 h 848"/>
                <a:gd name="T84" fmla="*/ 0 w 800"/>
                <a:gd name="T85" fmla="*/ 10 h 8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00"/>
                <a:gd name="T130" fmla="*/ 0 h 848"/>
                <a:gd name="T131" fmla="*/ 800 w 800"/>
                <a:gd name="T132" fmla="*/ 848 h 84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00" h="848">
                  <a:moveTo>
                    <a:pt x="0" y="425"/>
                  </a:moveTo>
                  <a:cubicBezTo>
                    <a:pt x="0" y="425"/>
                    <a:pt x="0" y="424"/>
                    <a:pt x="0" y="424"/>
                  </a:cubicBezTo>
                  <a:lnTo>
                    <a:pt x="8" y="340"/>
                  </a:lnTo>
                  <a:cubicBezTo>
                    <a:pt x="9" y="339"/>
                    <a:pt x="9" y="339"/>
                    <a:pt x="9" y="338"/>
                  </a:cubicBezTo>
                  <a:lnTo>
                    <a:pt x="32" y="260"/>
                  </a:lnTo>
                  <a:cubicBezTo>
                    <a:pt x="32" y="260"/>
                    <a:pt x="32" y="259"/>
                    <a:pt x="32" y="259"/>
                  </a:cubicBezTo>
                  <a:lnTo>
                    <a:pt x="68" y="189"/>
                  </a:lnTo>
                  <a:cubicBezTo>
                    <a:pt x="69" y="188"/>
                    <a:pt x="69" y="188"/>
                    <a:pt x="69" y="188"/>
                  </a:cubicBezTo>
                  <a:lnTo>
                    <a:pt x="117" y="126"/>
                  </a:lnTo>
                  <a:cubicBezTo>
                    <a:pt x="117" y="125"/>
                    <a:pt x="118" y="125"/>
                    <a:pt x="118" y="124"/>
                  </a:cubicBezTo>
                  <a:lnTo>
                    <a:pt x="176" y="73"/>
                  </a:lnTo>
                  <a:cubicBezTo>
                    <a:pt x="177" y="73"/>
                    <a:pt x="177" y="73"/>
                    <a:pt x="178" y="73"/>
                  </a:cubicBezTo>
                  <a:lnTo>
                    <a:pt x="245" y="35"/>
                  </a:lnTo>
                  <a:cubicBezTo>
                    <a:pt x="245" y="34"/>
                    <a:pt x="245" y="34"/>
                    <a:pt x="246" y="34"/>
                  </a:cubicBezTo>
                  <a:lnTo>
                    <a:pt x="319" y="9"/>
                  </a:lnTo>
                  <a:cubicBezTo>
                    <a:pt x="319" y="9"/>
                    <a:pt x="320" y="9"/>
                    <a:pt x="321" y="9"/>
                  </a:cubicBezTo>
                  <a:lnTo>
                    <a:pt x="400" y="1"/>
                  </a:lnTo>
                  <a:cubicBezTo>
                    <a:pt x="400" y="0"/>
                    <a:pt x="401" y="0"/>
                    <a:pt x="401" y="1"/>
                  </a:cubicBezTo>
                  <a:lnTo>
                    <a:pt x="480" y="9"/>
                  </a:lnTo>
                  <a:cubicBezTo>
                    <a:pt x="481" y="9"/>
                    <a:pt x="481" y="9"/>
                    <a:pt x="482" y="9"/>
                  </a:cubicBezTo>
                  <a:lnTo>
                    <a:pt x="556" y="34"/>
                  </a:lnTo>
                  <a:cubicBezTo>
                    <a:pt x="557" y="34"/>
                    <a:pt x="557" y="34"/>
                    <a:pt x="557" y="35"/>
                  </a:cubicBezTo>
                  <a:lnTo>
                    <a:pt x="623" y="73"/>
                  </a:lnTo>
                  <a:cubicBezTo>
                    <a:pt x="624" y="73"/>
                    <a:pt x="624" y="73"/>
                    <a:pt x="625" y="73"/>
                  </a:cubicBezTo>
                  <a:lnTo>
                    <a:pt x="683" y="124"/>
                  </a:lnTo>
                  <a:cubicBezTo>
                    <a:pt x="683" y="125"/>
                    <a:pt x="683" y="125"/>
                    <a:pt x="684" y="126"/>
                  </a:cubicBezTo>
                  <a:lnTo>
                    <a:pt x="732" y="188"/>
                  </a:lnTo>
                  <a:cubicBezTo>
                    <a:pt x="732" y="188"/>
                    <a:pt x="732" y="188"/>
                    <a:pt x="733" y="189"/>
                  </a:cubicBezTo>
                  <a:lnTo>
                    <a:pt x="769" y="259"/>
                  </a:lnTo>
                  <a:cubicBezTo>
                    <a:pt x="769" y="259"/>
                    <a:pt x="769" y="260"/>
                    <a:pt x="769" y="260"/>
                  </a:cubicBezTo>
                  <a:lnTo>
                    <a:pt x="792" y="338"/>
                  </a:lnTo>
                  <a:cubicBezTo>
                    <a:pt x="792" y="339"/>
                    <a:pt x="792" y="339"/>
                    <a:pt x="792" y="340"/>
                  </a:cubicBezTo>
                  <a:lnTo>
                    <a:pt x="800" y="424"/>
                  </a:lnTo>
                  <a:cubicBezTo>
                    <a:pt x="800" y="424"/>
                    <a:pt x="800" y="425"/>
                    <a:pt x="800" y="425"/>
                  </a:cubicBezTo>
                  <a:lnTo>
                    <a:pt x="792" y="509"/>
                  </a:lnTo>
                  <a:cubicBezTo>
                    <a:pt x="792" y="510"/>
                    <a:pt x="792" y="510"/>
                    <a:pt x="792" y="511"/>
                  </a:cubicBezTo>
                  <a:lnTo>
                    <a:pt x="769" y="589"/>
                  </a:lnTo>
                  <a:cubicBezTo>
                    <a:pt x="769" y="589"/>
                    <a:pt x="769" y="590"/>
                    <a:pt x="769" y="590"/>
                  </a:cubicBezTo>
                  <a:lnTo>
                    <a:pt x="733" y="661"/>
                  </a:lnTo>
                  <a:cubicBezTo>
                    <a:pt x="732" y="662"/>
                    <a:pt x="732" y="662"/>
                    <a:pt x="732" y="662"/>
                  </a:cubicBezTo>
                  <a:lnTo>
                    <a:pt x="684" y="723"/>
                  </a:lnTo>
                  <a:cubicBezTo>
                    <a:pt x="683" y="724"/>
                    <a:pt x="683" y="724"/>
                    <a:pt x="683" y="724"/>
                  </a:cubicBezTo>
                  <a:lnTo>
                    <a:pt x="625" y="775"/>
                  </a:lnTo>
                  <a:cubicBezTo>
                    <a:pt x="624" y="776"/>
                    <a:pt x="624" y="776"/>
                    <a:pt x="623" y="776"/>
                  </a:cubicBezTo>
                  <a:lnTo>
                    <a:pt x="557" y="814"/>
                  </a:lnTo>
                  <a:cubicBezTo>
                    <a:pt x="557" y="815"/>
                    <a:pt x="557" y="815"/>
                    <a:pt x="556" y="815"/>
                  </a:cubicBezTo>
                  <a:lnTo>
                    <a:pt x="482" y="840"/>
                  </a:lnTo>
                  <a:cubicBezTo>
                    <a:pt x="481" y="840"/>
                    <a:pt x="481" y="840"/>
                    <a:pt x="480" y="840"/>
                  </a:cubicBezTo>
                  <a:lnTo>
                    <a:pt x="401" y="848"/>
                  </a:lnTo>
                  <a:cubicBezTo>
                    <a:pt x="401" y="848"/>
                    <a:pt x="400" y="848"/>
                    <a:pt x="400" y="848"/>
                  </a:cubicBezTo>
                  <a:lnTo>
                    <a:pt x="321" y="840"/>
                  </a:lnTo>
                  <a:cubicBezTo>
                    <a:pt x="320" y="840"/>
                    <a:pt x="319" y="840"/>
                    <a:pt x="319" y="840"/>
                  </a:cubicBezTo>
                  <a:lnTo>
                    <a:pt x="246" y="815"/>
                  </a:lnTo>
                  <a:cubicBezTo>
                    <a:pt x="245" y="815"/>
                    <a:pt x="245" y="815"/>
                    <a:pt x="245" y="814"/>
                  </a:cubicBezTo>
                  <a:lnTo>
                    <a:pt x="178" y="776"/>
                  </a:lnTo>
                  <a:cubicBezTo>
                    <a:pt x="177" y="776"/>
                    <a:pt x="177" y="776"/>
                    <a:pt x="176" y="775"/>
                  </a:cubicBezTo>
                  <a:lnTo>
                    <a:pt x="118" y="724"/>
                  </a:lnTo>
                  <a:cubicBezTo>
                    <a:pt x="118" y="724"/>
                    <a:pt x="117" y="724"/>
                    <a:pt x="117" y="723"/>
                  </a:cubicBezTo>
                  <a:lnTo>
                    <a:pt x="69" y="662"/>
                  </a:lnTo>
                  <a:cubicBezTo>
                    <a:pt x="69" y="662"/>
                    <a:pt x="69" y="662"/>
                    <a:pt x="68" y="661"/>
                  </a:cubicBezTo>
                  <a:lnTo>
                    <a:pt x="32" y="590"/>
                  </a:lnTo>
                  <a:cubicBezTo>
                    <a:pt x="32" y="590"/>
                    <a:pt x="32" y="589"/>
                    <a:pt x="32" y="589"/>
                  </a:cubicBezTo>
                  <a:lnTo>
                    <a:pt x="9" y="511"/>
                  </a:lnTo>
                  <a:cubicBezTo>
                    <a:pt x="9" y="510"/>
                    <a:pt x="9" y="510"/>
                    <a:pt x="8" y="509"/>
                  </a:cubicBezTo>
                  <a:lnTo>
                    <a:pt x="0" y="425"/>
                  </a:lnTo>
                  <a:close/>
                  <a:moveTo>
                    <a:pt x="24" y="508"/>
                  </a:moveTo>
                  <a:lnTo>
                    <a:pt x="24" y="506"/>
                  </a:lnTo>
                  <a:lnTo>
                    <a:pt x="47" y="584"/>
                  </a:lnTo>
                  <a:lnTo>
                    <a:pt x="47" y="583"/>
                  </a:lnTo>
                  <a:lnTo>
                    <a:pt x="83" y="654"/>
                  </a:lnTo>
                  <a:lnTo>
                    <a:pt x="82" y="653"/>
                  </a:lnTo>
                  <a:lnTo>
                    <a:pt x="130" y="714"/>
                  </a:lnTo>
                  <a:lnTo>
                    <a:pt x="129" y="712"/>
                  </a:lnTo>
                  <a:lnTo>
                    <a:pt x="187" y="763"/>
                  </a:lnTo>
                  <a:lnTo>
                    <a:pt x="185" y="763"/>
                  </a:lnTo>
                  <a:lnTo>
                    <a:pt x="252" y="801"/>
                  </a:lnTo>
                  <a:lnTo>
                    <a:pt x="251" y="800"/>
                  </a:lnTo>
                  <a:lnTo>
                    <a:pt x="324" y="825"/>
                  </a:lnTo>
                  <a:lnTo>
                    <a:pt x="322" y="825"/>
                  </a:lnTo>
                  <a:lnTo>
                    <a:pt x="401" y="833"/>
                  </a:lnTo>
                  <a:lnTo>
                    <a:pt x="400" y="833"/>
                  </a:lnTo>
                  <a:lnTo>
                    <a:pt x="479" y="825"/>
                  </a:lnTo>
                  <a:lnTo>
                    <a:pt x="477" y="825"/>
                  </a:lnTo>
                  <a:lnTo>
                    <a:pt x="551" y="800"/>
                  </a:lnTo>
                  <a:lnTo>
                    <a:pt x="549" y="801"/>
                  </a:lnTo>
                  <a:lnTo>
                    <a:pt x="615" y="763"/>
                  </a:lnTo>
                  <a:lnTo>
                    <a:pt x="614" y="763"/>
                  </a:lnTo>
                  <a:lnTo>
                    <a:pt x="672" y="712"/>
                  </a:lnTo>
                  <a:lnTo>
                    <a:pt x="671" y="714"/>
                  </a:lnTo>
                  <a:lnTo>
                    <a:pt x="719" y="653"/>
                  </a:lnTo>
                  <a:lnTo>
                    <a:pt x="718" y="654"/>
                  </a:lnTo>
                  <a:lnTo>
                    <a:pt x="754" y="583"/>
                  </a:lnTo>
                  <a:lnTo>
                    <a:pt x="754" y="584"/>
                  </a:lnTo>
                  <a:lnTo>
                    <a:pt x="777" y="506"/>
                  </a:lnTo>
                  <a:lnTo>
                    <a:pt x="776" y="508"/>
                  </a:lnTo>
                  <a:lnTo>
                    <a:pt x="784" y="424"/>
                  </a:lnTo>
                  <a:lnTo>
                    <a:pt x="784" y="425"/>
                  </a:lnTo>
                  <a:lnTo>
                    <a:pt x="776" y="341"/>
                  </a:lnTo>
                  <a:lnTo>
                    <a:pt x="777" y="343"/>
                  </a:lnTo>
                  <a:lnTo>
                    <a:pt x="754" y="265"/>
                  </a:lnTo>
                  <a:lnTo>
                    <a:pt x="754" y="266"/>
                  </a:lnTo>
                  <a:lnTo>
                    <a:pt x="718" y="196"/>
                  </a:lnTo>
                  <a:lnTo>
                    <a:pt x="719" y="197"/>
                  </a:lnTo>
                  <a:lnTo>
                    <a:pt x="671" y="135"/>
                  </a:lnTo>
                  <a:lnTo>
                    <a:pt x="672" y="136"/>
                  </a:lnTo>
                  <a:lnTo>
                    <a:pt x="614" y="85"/>
                  </a:lnTo>
                  <a:lnTo>
                    <a:pt x="615" y="86"/>
                  </a:lnTo>
                  <a:lnTo>
                    <a:pt x="549" y="48"/>
                  </a:lnTo>
                  <a:lnTo>
                    <a:pt x="551" y="49"/>
                  </a:lnTo>
                  <a:lnTo>
                    <a:pt x="477" y="24"/>
                  </a:lnTo>
                  <a:lnTo>
                    <a:pt x="479" y="24"/>
                  </a:lnTo>
                  <a:lnTo>
                    <a:pt x="400" y="16"/>
                  </a:lnTo>
                  <a:lnTo>
                    <a:pt x="401" y="16"/>
                  </a:lnTo>
                  <a:lnTo>
                    <a:pt x="322" y="24"/>
                  </a:lnTo>
                  <a:lnTo>
                    <a:pt x="324" y="24"/>
                  </a:lnTo>
                  <a:lnTo>
                    <a:pt x="251" y="49"/>
                  </a:lnTo>
                  <a:lnTo>
                    <a:pt x="252" y="48"/>
                  </a:lnTo>
                  <a:lnTo>
                    <a:pt x="185" y="86"/>
                  </a:lnTo>
                  <a:lnTo>
                    <a:pt x="187" y="85"/>
                  </a:lnTo>
                  <a:lnTo>
                    <a:pt x="129" y="136"/>
                  </a:lnTo>
                  <a:lnTo>
                    <a:pt x="130" y="135"/>
                  </a:lnTo>
                  <a:lnTo>
                    <a:pt x="82" y="197"/>
                  </a:lnTo>
                  <a:lnTo>
                    <a:pt x="83" y="196"/>
                  </a:lnTo>
                  <a:lnTo>
                    <a:pt x="47" y="266"/>
                  </a:lnTo>
                  <a:lnTo>
                    <a:pt x="47" y="265"/>
                  </a:lnTo>
                  <a:lnTo>
                    <a:pt x="24" y="343"/>
                  </a:lnTo>
                  <a:lnTo>
                    <a:pt x="24" y="341"/>
                  </a:lnTo>
                  <a:lnTo>
                    <a:pt x="16" y="425"/>
                  </a:lnTo>
                  <a:lnTo>
                    <a:pt x="16" y="424"/>
                  </a:lnTo>
                  <a:lnTo>
                    <a:pt x="24" y="508"/>
                  </a:lnTo>
                  <a:close/>
                </a:path>
              </a:pathLst>
            </a:custGeom>
            <a:solidFill>
              <a:srgbClr val="000000"/>
            </a:solidFill>
            <a:ln w="0">
              <a:solidFill>
                <a:srgbClr val="000000"/>
              </a:solidFill>
              <a:round/>
              <a:headEnd/>
              <a:tailEnd/>
            </a:ln>
          </p:spPr>
          <p:txBody>
            <a:bodyPr/>
            <a:lstStyle/>
            <a:p>
              <a:endParaRPr lang="en-US"/>
            </a:p>
          </p:txBody>
        </p:sp>
        <p:sp>
          <p:nvSpPr>
            <p:cNvPr id="42027" name="Freeform 7"/>
            <p:cNvSpPr>
              <a:spLocks/>
            </p:cNvSpPr>
            <p:nvPr/>
          </p:nvSpPr>
          <p:spPr bwMode="auto">
            <a:xfrm>
              <a:off x="3516" y="1013"/>
              <a:ext cx="220" cy="234"/>
            </a:xfrm>
            <a:custGeom>
              <a:avLst/>
              <a:gdLst>
                <a:gd name="T0" fmla="*/ 0 w 784"/>
                <a:gd name="T1" fmla="*/ 9 h 832"/>
                <a:gd name="T2" fmla="*/ 9 w 784"/>
                <a:gd name="T3" fmla="*/ 0 h 832"/>
                <a:gd name="T4" fmla="*/ 9 w 784"/>
                <a:gd name="T5" fmla="*/ 0 h 832"/>
                <a:gd name="T6" fmla="*/ 9 w 784"/>
                <a:gd name="T7" fmla="*/ 0 h 832"/>
                <a:gd name="T8" fmla="*/ 17 w 784"/>
                <a:gd name="T9" fmla="*/ 9 h 832"/>
                <a:gd name="T10" fmla="*/ 17 w 784"/>
                <a:gd name="T11" fmla="*/ 9 h 832"/>
                <a:gd name="T12" fmla="*/ 17 w 784"/>
                <a:gd name="T13" fmla="*/ 9 h 832"/>
                <a:gd name="T14" fmla="*/ 9 w 784"/>
                <a:gd name="T15" fmla="*/ 19 h 832"/>
                <a:gd name="T16" fmla="*/ 9 w 784"/>
                <a:gd name="T17" fmla="*/ 19 h 832"/>
                <a:gd name="T18" fmla="*/ 9 w 784"/>
                <a:gd name="T19" fmla="*/ 19 h 832"/>
                <a:gd name="T20" fmla="*/ 0 w 784"/>
                <a:gd name="T21" fmla="*/ 9 h 832"/>
                <a:gd name="T22" fmla="*/ 0 w 784"/>
                <a:gd name="T23" fmla="*/ 9 h 8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4"/>
                <a:gd name="T37" fmla="*/ 0 h 832"/>
                <a:gd name="T38" fmla="*/ 784 w 784"/>
                <a:gd name="T39" fmla="*/ 832 h 8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4" h="832">
                  <a:moveTo>
                    <a:pt x="0" y="416"/>
                  </a:moveTo>
                  <a:cubicBezTo>
                    <a:pt x="0" y="187"/>
                    <a:pt x="176" y="0"/>
                    <a:pt x="392" y="0"/>
                  </a:cubicBezTo>
                  <a:cubicBezTo>
                    <a:pt x="392" y="0"/>
                    <a:pt x="392" y="0"/>
                    <a:pt x="392" y="0"/>
                  </a:cubicBezTo>
                  <a:cubicBezTo>
                    <a:pt x="609" y="0"/>
                    <a:pt x="784" y="187"/>
                    <a:pt x="784" y="416"/>
                  </a:cubicBezTo>
                  <a:cubicBezTo>
                    <a:pt x="784" y="416"/>
                    <a:pt x="784" y="416"/>
                    <a:pt x="784" y="416"/>
                  </a:cubicBezTo>
                  <a:cubicBezTo>
                    <a:pt x="784" y="646"/>
                    <a:pt x="609" y="832"/>
                    <a:pt x="392" y="832"/>
                  </a:cubicBezTo>
                  <a:cubicBezTo>
                    <a:pt x="392" y="832"/>
                    <a:pt x="392" y="832"/>
                    <a:pt x="392" y="832"/>
                  </a:cubicBezTo>
                  <a:cubicBezTo>
                    <a:pt x="176" y="832"/>
                    <a:pt x="0" y="646"/>
                    <a:pt x="0" y="416"/>
                  </a:cubicBezTo>
                  <a:cubicBezTo>
                    <a:pt x="0" y="416"/>
                    <a:pt x="0" y="416"/>
                    <a:pt x="0" y="416"/>
                  </a:cubicBezTo>
                  <a:close/>
                </a:path>
              </a:pathLst>
            </a:custGeom>
            <a:solidFill>
              <a:srgbClr val="FF0000"/>
            </a:solidFill>
            <a:ln w="0">
              <a:solidFill>
                <a:srgbClr val="000000"/>
              </a:solidFill>
              <a:round/>
              <a:headEnd/>
              <a:tailEnd/>
            </a:ln>
          </p:spPr>
          <p:txBody>
            <a:bodyPr/>
            <a:lstStyle/>
            <a:p>
              <a:endParaRPr lang="en-US"/>
            </a:p>
          </p:txBody>
        </p:sp>
        <p:sp>
          <p:nvSpPr>
            <p:cNvPr id="42028" name="Freeform 8"/>
            <p:cNvSpPr>
              <a:spLocks noEditPoints="1"/>
            </p:cNvSpPr>
            <p:nvPr/>
          </p:nvSpPr>
          <p:spPr bwMode="auto">
            <a:xfrm>
              <a:off x="3513" y="1010"/>
              <a:ext cx="225" cy="239"/>
            </a:xfrm>
            <a:custGeom>
              <a:avLst/>
              <a:gdLst>
                <a:gd name="T0" fmla="*/ 0 w 800"/>
                <a:gd name="T1" fmla="*/ 8 h 848"/>
                <a:gd name="T2" fmla="*/ 1 w 800"/>
                <a:gd name="T3" fmla="*/ 6 h 848"/>
                <a:gd name="T4" fmla="*/ 3 w 800"/>
                <a:gd name="T5" fmla="*/ 3 h 848"/>
                <a:gd name="T6" fmla="*/ 4 w 800"/>
                <a:gd name="T7" fmla="*/ 2 h 848"/>
                <a:gd name="T8" fmla="*/ 7 w 800"/>
                <a:gd name="T9" fmla="*/ 0 h 848"/>
                <a:gd name="T10" fmla="*/ 9 w 800"/>
                <a:gd name="T11" fmla="*/ 0 h 848"/>
                <a:gd name="T12" fmla="*/ 12 w 800"/>
                <a:gd name="T13" fmla="*/ 1 h 848"/>
                <a:gd name="T14" fmla="*/ 14 w 800"/>
                <a:gd name="T15" fmla="*/ 2 h 848"/>
                <a:gd name="T16" fmla="*/ 16 w 800"/>
                <a:gd name="T17" fmla="*/ 4 h 848"/>
                <a:gd name="T18" fmla="*/ 17 w 800"/>
                <a:gd name="T19" fmla="*/ 6 h 848"/>
                <a:gd name="T20" fmla="*/ 18 w 800"/>
                <a:gd name="T21" fmla="*/ 10 h 848"/>
                <a:gd name="T22" fmla="*/ 18 w 800"/>
                <a:gd name="T23" fmla="*/ 12 h 848"/>
                <a:gd name="T24" fmla="*/ 16 w 800"/>
                <a:gd name="T25" fmla="*/ 15 h 848"/>
                <a:gd name="T26" fmla="*/ 15 w 800"/>
                <a:gd name="T27" fmla="*/ 16 h 848"/>
                <a:gd name="T28" fmla="*/ 12 w 800"/>
                <a:gd name="T29" fmla="*/ 18 h 848"/>
                <a:gd name="T30" fmla="*/ 11 w 800"/>
                <a:gd name="T31" fmla="*/ 19 h 848"/>
                <a:gd name="T32" fmla="*/ 7 w 800"/>
                <a:gd name="T33" fmla="*/ 19 h 848"/>
                <a:gd name="T34" fmla="*/ 5 w 800"/>
                <a:gd name="T35" fmla="*/ 18 h 848"/>
                <a:gd name="T36" fmla="*/ 3 w 800"/>
                <a:gd name="T37" fmla="*/ 16 h 848"/>
                <a:gd name="T38" fmla="*/ 1 w 800"/>
                <a:gd name="T39" fmla="*/ 15 h 848"/>
                <a:gd name="T40" fmla="*/ 0 w 800"/>
                <a:gd name="T41" fmla="*/ 12 h 848"/>
                <a:gd name="T42" fmla="*/ 1 w 800"/>
                <a:gd name="T43" fmla="*/ 11 h 848"/>
                <a:gd name="T44" fmla="*/ 1 w 800"/>
                <a:gd name="T45" fmla="*/ 13 h 848"/>
                <a:gd name="T46" fmla="*/ 3 w 800"/>
                <a:gd name="T47" fmla="*/ 16 h 848"/>
                <a:gd name="T48" fmla="*/ 4 w 800"/>
                <a:gd name="T49" fmla="*/ 17 h 848"/>
                <a:gd name="T50" fmla="*/ 7 w 800"/>
                <a:gd name="T51" fmla="*/ 19 h 848"/>
                <a:gd name="T52" fmla="*/ 9 w 800"/>
                <a:gd name="T53" fmla="*/ 19 h 848"/>
                <a:gd name="T54" fmla="*/ 12 w 800"/>
                <a:gd name="T55" fmla="*/ 18 h 848"/>
                <a:gd name="T56" fmla="*/ 14 w 800"/>
                <a:gd name="T57" fmla="*/ 17 h 848"/>
                <a:gd name="T58" fmla="*/ 16 w 800"/>
                <a:gd name="T59" fmla="*/ 15 h 848"/>
                <a:gd name="T60" fmla="*/ 17 w 800"/>
                <a:gd name="T61" fmla="*/ 13 h 848"/>
                <a:gd name="T62" fmla="*/ 17 w 800"/>
                <a:gd name="T63" fmla="*/ 10 h 848"/>
                <a:gd name="T64" fmla="*/ 17 w 800"/>
                <a:gd name="T65" fmla="*/ 8 h 848"/>
                <a:gd name="T66" fmla="*/ 16 w 800"/>
                <a:gd name="T67" fmla="*/ 5 h 848"/>
                <a:gd name="T68" fmla="*/ 15 w 800"/>
                <a:gd name="T69" fmla="*/ 3 h 848"/>
                <a:gd name="T70" fmla="*/ 12 w 800"/>
                <a:gd name="T71" fmla="*/ 1 h 848"/>
                <a:gd name="T72" fmla="*/ 11 w 800"/>
                <a:gd name="T73" fmla="*/ 1 h 848"/>
                <a:gd name="T74" fmla="*/ 7 w 800"/>
                <a:gd name="T75" fmla="*/ 1 h 848"/>
                <a:gd name="T76" fmla="*/ 6 w 800"/>
                <a:gd name="T77" fmla="*/ 1 h 848"/>
                <a:gd name="T78" fmla="*/ 3 w 800"/>
                <a:gd name="T79" fmla="*/ 3 h 848"/>
                <a:gd name="T80" fmla="*/ 2 w 800"/>
                <a:gd name="T81" fmla="*/ 5 h 848"/>
                <a:gd name="T82" fmla="*/ 1 w 800"/>
                <a:gd name="T83" fmla="*/ 8 h 848"/>
                <a:gd name="T84" fmla="*/ 0 w 800"/>
                <a:gd name="T85" fmla="*/ 10 h 8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00"/>
                <a:gd name="T130" fmla="*/ 0 h 848"/>
                <a:gd name="T131" fmla="*/ 800 w 800"/>
                <a:gd name="T132" fmla="*/ 848 h 84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00" h="848">
                  <a:moveTo>
                    <a:pt x="0" y="425"/>
                  </a:moveTo>
                  <a:cubicBezTo>
                    <a:pt x="0" y="425"/>
                    <a:pt x="0" y="424"/>
                    <a:pt x="0" y="424"/>
                  </a:cubicBezTo>
                  <a:lnTo>
                    <a:pt x="8" y="340"/>
                  </a:lnTo>
                  <a:cubicBezTo>
                    <a:pt x="9" y="339"/>
                    <a:pt x="9" y="339"/>
                    <a:pt x="9" y="338"/>
                  </a:cubicBezTo>
                  <a:lnTo>
                    <a:pt x="32" y="260"/>
                  </a:lnTo>
                  <a:cubicBezTo>
                    <a:pt x="32" y="260"/>
                    <a:pt x="32" y="259"/>
                    <a:pt x="32" y="259"/>
                  </a:cubicBezTo>
                  <a:lnTo>
                    <a:pt x="68" y="189"/>
                  </a:lnTo>
                  <a:cubicBezTo>
                    <a:pt x="69" y="188"/>
                    <a:pt x="69" y="188"/>
                    <a:pt x="69" y="188"/>
                  </a:cubicBezTo>
                  <a:lnTo>
                    <a:pt x="117" y="126"/>
                  </a:lnTo>
                  <a:cubicBezTo>
                    <a:pt x="117" y="125"/>
                    <a:pt x="118" y="125"/>
                    <a:pt x="118" y="124"/>
                  </a:cubicBezTo>
                  <a:lnTo>
                    <a:pt x="176" y="73"/>
                  </a:lnTo>
                  <a:cubicBezTo>
                    <a:pt x="177" y="73"/>
                    <a:pt x="177" y="73"/>
                    <a:pt x="178" y="73"/>
                  </a:cubicBezTo>
                  <a:lnTo>
                    <a:pt x="245" y="35"/>
                  </a:lnTo>
                  <a:cubicBezTo>
                    <a:pt x="245" y="34"/>
                    <a:pt x="245" y="34"/>
                    <a:pt x="246" y="34"/>
                  </a:cubicBezTo>
                  <a:lnTo>
                    <a:pt x="319" y="9"/>
                  </a:lnTo>
                  <a:cubicBezTo>
                    <a:pt x="319" y="9"/>
                    <a:pt x="320" y="9"/>
                    <a:pt x="321" y="9"/>
                  </a:cubicBezTo>
                  <a:lnTo>
                    <a:pt x="400" y="1"/>
                  </a:lnTo>
                  <a:cubicBezTo>
                    <a:pt x="400" y="0"/>
                    <a:pt x="401" y="0"/>
                    <a:pt x="401" y="1"/>
                  </a:cubicBezTo>
                  <a:lnTo>
                    <a:pt x="480" y="9"/>
                  </a:lnTo>
                  <a:cubicBezTo>
                    <a:pt x="481" y="9"/>
                    <a:pt x="481" y="9"/>
                    <a:pt x="482" y="9"/>
                  </a:cubicBezTo>
                  <a:lnTo>
                    <a:pt x="556" y="34"/>
                  </a:lnTo>
                  <a:cubicBezTo>
                    <a:pt x="557" y="34"/>
                    <a:pt x="557" y="34"/>
                    <a:pt x="557" y="35"/>
                  </a:cubicBezTo>
                  <a:lnTo>
                    <a:pt x="623" y="73"/>
                  </a:lnTo>
                  <a:cubicBezTo>
                    <a:pt x="624" y="73"/>
                    <a:pt x="624" y="73"/>
                    <a:pt x="625" y="73"/>
                  </a:cubicBezTo>
                  <a:lnTo>
                    <a:pt x="683" y="124"/>
                  </a:lnTo>
                  <a:cubicBezTo>
                    <a:pt x="683" y="125"/>
                    <a:pt x="683" y="125"/>
                    <a:pt x="684" y="126"/>
                  </a:cubicBezTo>
                  <a:lnTo>
                    <a:pt x="732" y="188"/>
                  </a:lnTo>
                  <a:cubicBezTo>
                    <a:pt x="732" y="188"/>
                    <a:pt x="732" y="188"/>
                    <a:pt x="733" y="189"/>
                  </a:cubicBezTo>
                  <a:lnTo>
                    <a:pt x="769" y="259"/>
                  </a:lnTo>
                  <a:cubicBezTo>
                    <a:pt x="769" y="259"/>
                    <a:pt x="769" y="260"/>
                    <a:pt x="769" y="260"/>
                  </a:cubicBezTo>
                  <a:lnTo>
                    <a:pt x="792" y="338"/>
                  </a:lnTo>
                  <a:cubicBezTo>
                    <a:pt x="792" y="339"/>
                    <a:pt x="792" y="339"/>
                    <a:pt x="792" y="340"/>
                  </a:cubicBezTo>
                  <a:lnTo>
                    <a:pt x="800" y="424"/>
                  </a:lnTo>
                  <a:cubicBezTo>
                    <a:pt x="800" y="424"/>
                    <a:pt x="800" y="425"/>
                    <a:pt x="800" y="425"/>
                  </a:cubicBezTo>
                  <a:lnTo>
                    <a:pt x="792" y="509"/>
                  </a:lnTo>
                  <a:cubicBezTo>
                    <a:pt x="792" y="510"/>
                    <a:pt x="792" y="510"/>
                    <a:pt x="792" y="511"/>
                  </a:cubicBezTo>
                  <a:lnTo>
                    <a:pt x="769" y="589"/>
                  </a:lnTo>
                  <a:cubicBezTo>
                    <a:pt x="769" y="589"/>
                    <a:pt x="769" y="590"/>
                    <a:pt x="769" y="590"/>
                  </a:cubicBezTo>
                  <a:lnTo>
                    <a:pt x="733" y="661"/>
                  </a:lnTo>
                  <a:cubicBezTo>
                    <a:pt x="732" y="662"/>
                    <a:pt x="732" y="662"/>
                    <a:pt x="732" y="662"/>
                  </a:cubicBezTo>
                  <a:lnTo>
                    <a:pt x="684" y="723"/>
                  </a:lnTo>
                  <a:cubicBezTo>
                    <a:pt x="683" y="724"/>
                    <a:pt x="683" y="724"/>
                    <a:pt x="683" y="724"/>
                  </a:cubicBezTo>
                  <a:lnTo>
                    <a:pt x="625" y="775"/>
                  </a:lnTo>
                  <a:cubicBezTo>
                    <a:pt x="624" y="776"/>
                    <a:pt x="624" y="776"/>
                    <a:pt x="623" y="776"/>
                  </a:cubicBezTo>
                  <a:lnTo>
                    <a:pt x="557" y="814"/>
                  </a:lnTo>
                  <a:cubicBezTo>
                    <a:pt x="557" y="815"/>
                    <a:pt x="557" y="815"/>
                    <a:pt x="556" y="815"/>
                  </a:cubicBezTo>
                  <a:lnTo>
                    <a:pt x="482" y="840"/>
                  </a:lnTo>
                  <a:cubicBezTo>
                    <a:pt x="481" y="840"/>
                    <a:pt x="481" y="840"/>
                    <a:pt x="480" y="840"/>
                  </a:cubicBezTo>
                  <a:lnTo>
                    <a:pt x="401" y="848"/>
                  </a:lnTo>
                  <a:cubicBezTo>
                    <a:pt x="401" y="848"/>
                    <a:pt x="400" y="848"/>
                    <a:pt x="400" y="848"/>
                  </a:cubicBezTo>
                  <a:lnTo>
                    <a:pt x="321" y="840"/>
                  </a:lnTo>
                  <a:cubicBezTo>
                    <a:pt x="320" y="840"/>
                    <a:pt x="319" y="840"/>
                    <a:pt x="319" y="840"/>
                  </a:cubicBezTo>
                  <a:lnTo>
                    <a:pt x="246" y="815"/>
                  </a:lnTo>
                  <a:cubicBezTo>
                    <a:pt x="245" y="815"/>
                    <a:pt x="245" y="815"/>
                    <a:pt x="245" y="814"/>
                  </a:cubicBezTo>
                  <a:lnTo>
                    <a:pt x="178" y="776"/>
                  </a:lnTo>
                  <a:cubicBezTo>
                    <a:pt x="177" y="776"/>
                    <a:pt x="177" y="776"/>
                    <a:pt x="176" y="775"/>
                  </a:cubicBezTo>
                  <a:lnTo>
                    <a:pt x="118" y="724"/>
                  </a:lnTo>
                  <a:cubicBezTo>
                    <a:pt x="118" y="724"/>
                    <a:pt x="117" y="724"/>
                    <a:pt x="117" y="723"/>
                  </a:cubicBezTo>
                  <a:lnTo>
                    <a:pt x="69" y="662"/>
                  </a:lnTo>
                  <a:cubicBezTo>
                    <a:pt x="69" y="662"/>
                    <a:pt x="69" y="662"/>
                    <a:pt x="68" y="661"/>
                  </a:cubicBezTo>
                  <a:lnTo>
                    <a:pt x="32" y="590"/>
                  </a:lnTo>
                  <a:cubicBezTo>
                    <a:pt x="32" y="590"/>
                    <a:pt x="32" y="589"/>
                    <a:pt x="32" y="589"/>
                  </a:cubicBezTo>
                  <a:lnTo>
                    <a:pt x="9" y="511"/>
                  </a:lnTo>
                  <a:cubicBezTo>
                    <a:pt x="9" y="510"/>
                    <a:pt x="9" y="510"/>
                    <a:pt x="8" y="509"/>
                  </a:cubicBezTo>
                  <a:lnTo>
                    <a:pt x="0" y="425"/>
                  </a:lnTo>
                  <a:close/>
                  <a:moveTo>
                    <a:pt x="24" y="508"/>
                  </a:moveTo>
                  <a:lnTo>
                    <a:pt x="24" y="506"/>
                  </a:lnTo>
                  <a:lnTo>
                    <a:pt x="47" y="584"/>
                  </a:lnTo>
                  <a:lnTo>
                    <a:pt x="47" y="583"/>
                  </a:lnTo>
                  <a:lnTo>
                    <a:pt x="83" y="654"/>
                  </a:lnTo>
                  <a:lnTo>
                    <a:pt x="82" y="653"/>
                  </a:lnTo>
                  <a:lnTo>
                    <a:pt x="130" y="714"/>
                  </a:lnTo>
                  <a:lnTo>
                    <a:pt x="129" y="712"/>
                  </a:lnTo>
                  <a:lnTo>
                    <a:pt x="187" y="763"/>
                  </a:lnTo>
                  <a:lnTo>
                    <a:pt x="185" y="763"/>
                  </a:lnTo>
                  <a:lnTo>
                    <a:pt x="252" y="801"/>
                  </a:lnTo>
                  <a:lnTo>
                    <a:pt x="251" y="800"/>
                  </a:lnTo>
                  <a:lnTo>
                    <a:pt x="324" y="825"/>
                  </a:lnTo>
                  <a:lnTo>
                    <a:pt x="322" y="825"/>
                  </a:lnTo>
                  <a:lnTo>
                    <a:pt x="401" y="833"/>
                  </a:lnTo>
                  <a:lnTo>
                    <a:pt x="400" y="833"/>
                  </a:lnTo>
                  <a:lnTo>
                    <a:pt x="479" y="825"/>
                  </a:lnTo>
                  <a:lnTo>
                    <a:pt x="477" y="825"/>
                  </a:lnTo>
                  <a:lnTo>
                    <a:pt x="551" y="800"/>
                  </a:lnTo>
                  <a:lnTo>
                    <a:pt x="549" y="801"/>
                  </a:lnTo>
                  <a:lnTo>
                    <a:pt x="615" y="763"/>
                  </a:lnTo>
                  <a:lnTo>
                    <a:pt x="614" y="763"/>
                  </a:lnTo>
                  <a:lnTo>
                    <a:pt x="672" y="712"/>
                  </a:lnTo>
                  <a:lnTo>
                    <a:pt x="671" y="714"/>
                  </a:lnTo>
                  <a:lnTo>
                    <a:pt x="719" y="653"/>
                  </a:lnTo>
                  <a:lnTo>
                    <a:pt x="718" y="654"/>
                  </a:lnTo>
                  <a:lnTo>
                    <a:pt x="754" y="583"/>
                  </a:lnTo>
                  <a:lnTo>
                    <a:pt x="754" y="584"/>
                  </a:lnTo>
                  <a:lnTo>
                    <a:pt x="777" y="506"/>
                  </a:lnTo>
                  <a:lnTo>
                    <a:pt x="776" y="508"/>
                  </a:lnTo>
                  <a:lnTo>
                    <a:pt x="784" y="424"/>
                  </a:lnTo>
                  <a:lnTo>
                    <a:pt x="784" y="425"/>
                  </a:lnTo>
                  <a:lnTo>
                    <a:pt x="776" y="341"/>
                  </a:lnTo>
                  <a:lnTo>
                    <a:pt x="777" y="343"/>
                  </a:lnTo>
                  <a:lnTo>
                    <a:pt x="754" y="265"/>
                  </a:lnTo>
                  <a:lnTo>
                    <a:pt x="754" y="266"/>
                  </a:lnTo>
                  <a:lnTo>
                    <a:pt x="718" y="196"/>
                  </a:lnTo>
                  <a:lnTo>
                    <a:pt x="719" y="197"/>
                  </a:lnTo>
                  <a:lnTo>
                    <a:pt x="671" y="135"/>
                  </a:lnTo>
                  <a:lnTo>
                    <a:pt x="672" y="136"/>
                  </a:lnTo>
                  <a:lnTo>
                    <a:pt x="614" y="85"/>
                  </a:lnTo>
                  <a:lnTo>
                    <a:pt x="615" y="86"/>
                  </a:lnTo>
                  <a:lnTo>
                    <a:pt x="549" y="48"/>
                  </a:lnTo>
                  <a:lnTo>
                    <a:pt x="551" y="49"/>
                  </a:lnTo>
                  <a:lnTo>
                    <a:pt x="477" y="24"/>
                  </a:lnTo>
                  <a:lnTo>
                    <a:pt x="479" y="24"/>
                  </a:lnTo>
                  <a:lnTo>
                    <a:pt x="400" y="16"/>
                  </a:lnTo>
                  <a:lnTo>
                    <a:pt x="401" y="16"/>
                  </a:lnTo>
                  <a:lnTo>
                    <a:pt x="322" y="24"/>
                  </a:lnTo>
                  <a:lnTo>
                    <a:pt x="324" y="24"/>
                  </a:lnTo>
                  <a:lnTo>
                    <a:pt x="251" y="49"/>
                  </a:lnTo>
                  <a:lnTo>
                    <a:pt x="252" y="48"/>
                  </a:lnTo>
                  <a:lnTo>
                    <a:pt x="185" y="86"/>
                  </a:lnTo>
                  <a:lnTo>
                    <a:pt x="187" y="85"/>
                  </a:lnTo>
                  <a:lnTo>
                    <a:pt x="129" y="136"/>
                  </a:lnTo>
                  <a:lnTo>
                    <a:pt x="130" y="135"/>
                  </a:lnTo>
                  <a:lnTo>
                    <a:pt x="82" y="197"/>
                  </a:lnTo>
                  <a:lnTo>
                    <a:pt x="83" y="196"/>
                  </a:lnTo>
                  <a:lnTo>
                    <a:pt x="47" y="266"/>
                  </a:lnTo>
                  <a:lnTo>
                    <a:pt x="47" y="265"/>
                  </a:lnTo>
                  <a:lnTo>
                    <a:pt x="24" y="343"/>
                  </a:lnTo>
                  <a:lnTo>
                    <a:pt x="24" y="341"/>
                  </a:lnTo>
                  <a:lnTo>
                    <a:pt x="16" y="425"/>
                  </a:lnTo>
                  <a:lnTo>
                    <a:pt x="16" y="424"/>
                  </a:lnTo>
                  <a:lnTo>
                    <a:pt x="24" y="508"/>
                  </a:lnTo>
                  <a:close/>
                </a:path>
              </a:pathLst>
            </a:custGeom>
            <a:solidFill>
              <a:srgbClr val="000000"/>
            </a:solidFill>
            <a:ln w="0">
              <a:solidFill>
                <a:srgbClr val="000000"/>
              </a:solidFill>
              <a:round/>
              <a:headEnd/>
              <a:tailEnd/>
            </a:ln>
          </p:spPr>
          <p:txBody>
            <a:bodyPr/>
            <a:lstStyle/>
            <a:p>
              <a:endParaRPr lang="en-US"/>
            </a:p>
          </p:txBody>
        </p:sp>
        <p:sp>
          <p:nvSpPr>
            <p:cNvPr id="42029" name="Freeform 9"/>
            <p:cNvSpPr>
              <a:spLocks/>
            </p:cNvSpPr>
            <p:nvPr/>
          </p:nvSpPr>
          <p:spPr bwMode="auto">
            <a:xfrm>
              <a:off x="3245" y="711"/>
              <a:ext cx="221" cy="234"/>
            </a:xfrm>
            <a:custGeom>
              <a:avLst/>
              <a:gdLst>
                <a:gd name="T0" fmla="*/ 0 w 784"/>
                <a:gd name="T1" fmla="*/ 9 h 832"/>
                <a:gd name="T2" fmla="*/ 9 w 784"/>
                <a:gd name="T3" fmla="*/ 0 h 832"/>
                <a:gd name="T4" fmla="*/ 9 w 784"/>
                <a:gd name="T5" fmla="*/ 0 h 832"/>
                <a:gd name="T6" fmla="*/ 9 w 784"/>
                <a:gd name="T7" fmla="*/ 0 h 832"/>
                <a:gd name="T8" fmla="*/ 17 w 784"/>
                <a:gd name="T9" fmla="*/ 9 h 832"/>
                <a:gd name="T10" fmla="*/ 17 w 784"/>
                <a:gd name="T11" fmla="*/ 9 h 832"/>
                <a:gd name="T12" fmla="*/ 17 w 784"/>
                <a:gd name="T13" fmla="*/ 9 h 832"/>
                <a:gd name="T14" fmla="*/ 9 w 784"/>
                <a:gd name="T15" fmla="*/ 19 h 832"/>
                <a:gd name="T16" fmla="*/ 9 w 784"/>
                <a:gd name="T17" fmla="*/ 19 h 832"/>
                <a:gd name="T18" fmla="*/ 9 w 784"/>
                <a:gd name="T19" fmla="*/ 19 h 832"/>
                <a:gd name="T20" fmla="*/ 0 w 784"/>
                <a:gd name="T21" fmla="*/ 9 h 832"/>
                <a:gd name="T22" fmla="*/ 0 w 784"/>
                <a:gd name="T23" fmla="*/ 9 h 8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4"/>
                <a:gd name="T37" fmla="*/ 0 h 832"/>
                <a:gd name="T38" fmla="*/ 784 w 784"/>
                <a:gd name="T39" fmla="*/ 832 h 8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4" h="832">
                  <a:moveTo>
                    <a:pt x="0" y="416"/>
                  </a:moveTo>
                  <a:cubicBezTo>
                    <a:pt x="0" y="187"/>
                    <a:pt x="176" y="0"/>
                    <a:pt x="392" y="0"/>
                  </a:cubicBezTo>
                  <a:cubicBezTo>
                    <a:pt x="392" y="0"/>
                    <a:pt x="392" y="0"/>
                    <a:pt x="392" y="0"/>
                  </a:cubicBezTo>
                  <a:cubicBezTo>
                    <a:pt x="609" y="0"/>
                    <a:pt x="784" y="187"/>
                    <a:pt x="784" y="416"/>
                  </a:cubicBezTo>
                  <a:cubicBezTo>
                    <a:pt x="784" y="416"/>
                    <a:pt x="784" y="416"/>
                    <a:pt x="784" y="416"/>
                  </a:cubicBezTo>
                  <a:cubicBezTo>
                    <a:pt x="784" y="646"/>
                    <a:pt x="609" y="832"/>
                    <a:pt x="392" y="832"/>
                  </a:cubicBezTo>
                  <a:cubicBezTo>
                    <a:pt x="392" y="832"/>
                    <a:pt x="392" y="832"/>
                    <a:pt x="392" y="832"/>
                  </a:cubicBezTo>
                  <a:cubicBezTo>
                    <a:pt x="176" y="832"/>
                    <a:pt x="0" y="646"/>
                    <a:pt x="0" y="416"/>
                  </a:cubicBezTo>
                  <a:cubicBezTo>
                    <a:pt x="0" y="416"/>
                    <a:pt x="0" y="416"/>
                    <a:pt x="0" y="416"/>
                  </a:cubicBezTo>
                  <a:close/>
                </a:path>
              </a:pathLst>
            </a:custGeom>
            <a:solidFill>
              <a:srgbClr val="FFCC99"/>
            </a:solidFill>
            <a:ln w="0">
              <a:solidFill>
                <a:srgbClr val="000000"/>
              </a:solidFill>
              <a:round/>
              <a:headEnd/>
              <a:tailEnd/>
            </a:ln>
          </p:spPr>
          <p:txBody>
            <a:bodyPr/>
            <a:lstStyle/>
            <a:p>
              <a:endParaRPr lang="en-US"/>
            </a:p>
          </p:txBody>
        </p:sp>
        <p:sp>
          <p:nvSpPr>
            <p:cNvPr id="42030" name="Freeform 10"/>
            <p:cNvSpPr>
              <a:spLocks noEditPoints="1"/>
            </p:cNvSpPr>
            <p:nvPr/>
          </p:nvSpPr>
          <p:spPr bwMode="auto">
            <a:xfrm>
              <a:off x="3243" y="709"/>
              <a:ext cx="225" cy="238"/>
            </a:xfrm>
            <a:custGeom>
              <a:avLst/>
              <a:gdLst>
                <a:gd name="T0" fmla="*/ 0 w 800"/>
                <a:gd name="T1" fmla="*/ 8 h 848"/>
                <a:gd name="T2" fmla="*/ 1 w 800"/>
                <a:gd name="T3" fmla="*/ 6 h 848"/>
                <a:gd name="T4" fmla="*/ 3 w 800"/>
                <a:gd name="T5" fmla="*/ 3 h 848"/>
                <a:gd name="T6" fmla="*/ 4 w 800"/>
                <a:gd name="T7" fmla="*/ 2 h 848"/>
                <a:gd name="T8" fmla="*/ 7 w 800"/>
                <a:gd name="T9" fmla="*/ 0 h 848"/>
                <a:gd name="T10" fmla="*/ 9 w 800"/>
                <a:gd name="T11" fmla="*/ 0 h 848"/>
                <a:gd name="T12" fmla="*/ 12 w 800"/>
                <a:gd name="T13" fmla="*/ 1 h 848"/>
                <a:gd name="T14" fmla="*/ 14 w 800"/>
                <a:gd name="T15" fmla="*/ 2 h 848"/>
                <a:gd name="T16" fmla="*/ 16 w 800"/>
                <a:gd name="T17" fmla="*/ 4 h 848"/>
                <a:gd name="T18" fmla="*/ 17 w 800"/>
                <a:gd name="T19" fmla="*/ 6 h 848"/>
                <a:gd name="T20" fmla="*/ 18 w 800"/>
                <a:gd name="T21" fmla="*/ 9 h 848"/>
                <a:gd name="T22" fmla="*/ 18 w 800"/>
                <a:gd name="T23" fmla="*/ 11 h 848"/>
                <a:gd name="T24" fmla="*/ 16 w 800"/>
                <a:gd name="T25" fmla="*/ 15 h 848"/>
                <a:gd name="T26" fmla="*/ 15 w 800"/>
                <a:gd name="T27" fmla="*/ 16 h 848"/>
                <a:gd name="T28" fmla="*/ 12 w 800"/>
                <a:gd name="T29" fmla="*/ 18 h 848"/>
                <a:gd name="T30" fmla="*/ 11 w 800"/>
                <a:gd name="T31" fmla="*/ 19 h 848"/>
                <a:gd name="T32" fmla="*/ 7 w 800"/>
                <a:gd name="T33" fmla="*/ 19 h 848"/>
                <a:gd name="T34" fmla="*/ 5 w 800"/>
                <a:gd name="T35" fmla="*/ 18 h 848"/>
                <a:gd name="T36" fmla="*/ 3 w 800"/>
                <a:gd name="T37" fmla="*/ 16 h 848"/>
                <a:gd name="T38" fmla="*/ 1 w 800"/>
                <a:gd name="T39" fmla="*/ 15 h 848"/>
                <a:gd name="T40" fmla="*/ 0 w 800"/>
                <a:gd name="T41" fmla="*/ 11 h 848"/>
                <a:gd name="T42" fmla="*/ 1 w 800"/>
                <a:gd name="T43" fmla="*/ 11 h 848"/>
                <a:gd name="T44" fmla="*/ 1 w 800"/>
                <a:gd name="T45" fmla="*/ 13 h 848"/>
                <a:gd name="T46" fmla="*/ 3 w 800"/>
                <a:gd name="T47" fmla="*/ 16 h 848"/>
                <a:gd name="T48" fmla="*/ 4 w 800"/>
                <a:gd name="T49" fmla="*/ 17 h 848"/>
                <a:gd name="T50" fmla="*/ 7 w 800"/>
                <a:gd name="T51" fmla="*/ 18 h 848"/>
                <a:gd name="T52" fmla="*/ 9 w 800"/>
                <a:gd name="T53" fmla="*/ 19 h 848"/>
                <a:gd name="T54" fmla="*/ 12 w 800"/>
                <a:gd name="T55" fmla="*/ 18 h 848"/>
                <a:gd name="T56" fmla="*/ 14 w 800"/>
                <a:gd name="T57" fmla="*/ 17 h 848"/>
                <a:gd name="T58" fmla="*/ 16 w 800"/>
                <a:gd name="T59" fmla="*/ 14 h 848"/>
                <a:gd name="T60" fmla="*/ 17 w 800"/>
                <a:gd name="T61" fmla="*/ 13 h 848"/>
                <a:gd name="T62" fmla="*/ 17 w 800"/>
                <a:gd name="T63" fmla="*/ 9 h 848"/>
                <a:gd name="T64" fmla="*/ 17 w 800"/>
                <a:gd name="T65" fmla="*/ 8 h 848"/>
                <a:gd name="T66" fmla="*/ 16 w 800"/>
                <a:gd name="T67" fmla="*/ 4 h 848"/>
                <a:gd name="T68" fmla="*/ 15 w 800"/>
                <a:gd name="T69" fmla="*/ 3 h 848"/>
                <a:gd name="T70" fmla="*/ 12 w 800"/>
                <a:gd name="T71" fmla="*/ 1 h 848"/>
                <a:gd name="T72" fmla="*/ 11 w 800"/>
                <a:gd name="T73" fmla="*/ 1 h 848"/>
                <a:gd name="T74" fmla="*/ 7 w 800"/>
                <a:gd name="T75" fmla="*/ 1 h 848"/>
                <a:gd name="T76" fmla="*/ 6 w 800"/>
                <a:gd name="T77" fmla="*/ 1 h 848"/>
                <a:gd name="T78" fmla="*/ 3 w 800"/>
                <a:gd name="T79" fmla="*/ 3 h 848"/>
                <a:gd name="T80" fmla="*/ 2 w 800"/>
                <a:gd name="T81" fmla="*/ 4 h 848"/>
                <a:gd name="T82" fmla="*/ 1 w 800"/>
                <a:gd name="T83" fmla="*/ 8 h 848"/>
                <a:gd name="T84" fmla="*/ 0 w 800"/>
                <a:gd name="T85" fmla="*/ 9 h 8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00"/>
                <a:gd name="T130" fmla="*/ 0 h 848"/>
                <a:gd name="T131" fmla="*/ 800 w 800"/>
                <a:gd name="T132" fmla="*/ 848 h 84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00" h="848">
                  <a:moveTo>
                    <a:pt x="0" y="425"/>
                  </a:moveTo>
                  <a:cubicBezTo>
                    <a:pt x="0" y="425"/>
                    <a:pt x="0" y="424"/>
                    <a:pt x="0" y="424"/>
                  </a:cubicBezTo>
                  <a:lnTo>
                    <a:pt x="8" y="340"/>
                  </a:lnTo>
                  <a:cubicBezTo>
                    <a:pt x="9" y="339"/>
                    <a:pt x="9" y="339"/>
                    <a:pt x="9" y="338"/>
                  </a:cubicBezTo>
                  <a:lnTo>
                    <a:pt x="32" y="260"/>
                  </a:lnTo>
                  <a:cubicBezTo>
                    <a:pt x="32" y="260"/>
                    <a:pt x="32" y="259"/>
                    <a:pt x="32" y="259"/>
                  </a:cubicBezTo>
                  <a:lnTo>
                    <a:pt x="68" y="189"/>
                  </a:lnTo>
                  <a:cubicBezTo>
                    <a:pt x="69" y="188"/>
                    <a:pt x="69" y="188"/>
                    <a:pt x="69" y="188"/>
                  </a:cubicBezTo>
                  <a:lnTo>
                    <a:pt x="117" y="126"/>
                  </a:lnTo>
                  <a:cubicBezTo>
                    <a:pt x="117" y="125"/>
                    <a:pt x="118" y="125"/>
                    <a:pt x="118" y="124"/>
                  </a:cubicBezTo>
                  <a:lnTo>
                    <a:pt x="176" y="73"/>
                  </a:lnTo>
                  <a:cubicBezTo>
                    <a:pt x="177" y="73"/>
                    <a:pt x="177" y="73"/>
                    <a:pt x="178" y="73"/>
                  </a:cubicBezTo>
                  <a:lnTo>
                    <a:pt x="245" y="35"/>
                  </a:lnTo>
                  <a:cubicBezTo>
                    <a:pt x="245" y="34"/>
                    <a:pt x="245" y="34"/>
                    <a:pt x="246" y="34"/>
                  </a:cubicBezTo>
                  <a:lnTo>
                    <a:pt x="319" y="9"/>
                  </a:lnTo>
                  <a:cubicBezTo>
                    <a:pt x="319" y="9"/>
                    <a:pt x="320" y="9"/>
                    <a:pt x="321" y="9"/>
                  </a:cubicBezTo>
                  <a:lnTo>
                    <a:pt x="400" y="1"/>
                  </a:lnTo>
                  <a:cubicBezTo>
                    <a:pt x="400" y="0"/>
                    <a:pt x="401" y="0"/>
                    <a:pt x="401" y="1"/>
                  </a:cubicBezTo>
                  <a:lnTo>
                    <a:pt x="480" y="9"/>
                  </a:lnTo>
                  <a:cubicBezTo>
                    <a:pt x="481" y="9"/>
                    <a:pt x="481" y="9"/>
                    <a:pt x="482" y="9"/>
                  </a:cubicBezTo>
                  <a:lnTo>
                    <a:pt x="556" y="34"/>
                  </a:lnTo>
                  <a:cubicBezTo>
                    <a:pt x="557" y="34"/>
                    <a:pt x="557" y="34"/>
                    <a:pt x="557" y="35"/>
                  </a:cubicBezTo>
                  <a:lnTo>
                    <a:pt x="623" y="73"/>
                  </a:lnTo>
                  <a:cubicBezTo>
                    <a:pt x="624" y="73"/>
                    <a:pt x="624" y="73"/>
                    <a:pt x="625" y="73"/>
                  </a:cubicBezTo>
                  <a:lnTo>
                    <a:pt x="683" y="124"/>
                  </a:lnTo>
                  <a:cubicBezTo>
                    <a:pt x="683" y="125"/>
                    <a:pt x="683" y="125"/>
                    <a:pt x="684" y="126"/>
                  </a:cubicBezTo>
                  <a:lnTo>
                    <a:pt x="732" y="188"/>
                  </a:lnTo>
                  <a:cubicBezTo>
                    <a:pt x="732" y="188"/>
                    <a:pt x="732" y="188"/>
                    <a:pt x="733" y="189"/>
                  </a:cubicBezTo>
                  <a:lnTo>
                    <a:pt x="769" y="259"/>
                  </a:lnTo>
                  <a:cubicBezTo>
                    <a:pt x="769" y="259"/>
                    <a:pt x="769" y="260"/>
                    <a:pt x="769" y="260"/>
                  </a:cubicBezTo>
                  <a:lnTo>
                    <a:pt x="792" y="338"/>
                  </a:lnTo>
                  <a:cubicBezTo>
                    <a:pt x="792" y="339"/>
                    <a:pt x="792" y="339"/>
                    <a:pt x="792" y="340"/>
                  </a:cubicBezTo>
                  <a:lnTo>
                    <a:pt x="800" y="424"/>
                  </a:lnTo>
                  <a:cubicBezTo>
                    <a:pt x="800" y="424"/>
                    <a:pt x="800" y="425"/>
                    <a:pt x="800" y="425"/>
                  </a:cubicBezTo>
                  <a:lnTo>
                    <a:pt x="792" y="509"/>
                  </a:lnTo>
                  <a:cubicBezTo>
                    <a:pt x="792" y="510"/>
                    <a:pt x="792" y="510"/>
                    <a:pt x="792" y="511"/>
                  </a:cubicBezTo>
                  <a:lnTo>
                    <a:pt x="769" y="589"/>
                  </a:lnTo>
                  <a:cubicBezTo>
                    <a:pt x="769" y="589"/>
                    <a:pt x="769" y="590"/>
                    <a:pt x="769" y="590"/>
                  </a:cubicBezTo>
                  <a:lnTo>
                    <a:pt x="733" y="661"/>
                  </a:lnTo>
                  <a:cubicBezTo>
                    <a:pt x="732" y="662"/>
                    <a:pt x="732" y="662"/>
                    <a:pt x="732" y="662"/>
                  </a:cubicBezTo>
                  <a:lnTo>
                    <a:pt x="684" y="723"/>
                  </a:lnTo>
                  <a:cubicBezTo>
                    <a:pt x="683" y="724"/>
                    <a:pt x="683" y="724"/>
                    <a:pt x="683" y="724"/>
                  </a:cubicBezTo>
                  <a:lnTo>
                    <a:pt x="625" y="775"/>
                  </a:lnTo>
                  <a:cubicBezTo>
                    <a:pt x="624" y="776"/>
                    <a:pt x="624" y="776"/>
                    <a:pt x="623" y="776"/>
                  </a:cubicBezTo>
                  <a:lnTo>
                    <a:pt x="557" y="814"/>
                  </a:lnTo>
                  <a:cubicBezTo>
                    <a:pt x="557" y="815"/>
                    <a:pt x="557" y="815"/>
                    <a:pt x="556" y="815"/>
                  </a:cubicBezTo>
                  <a:lnTo>
                    <a:pt x="482" y="840"/>
                  </a:lnTo>
                  <a:cubicBezTo>
                    <a:pt x="481" y="840"/>
                    <a:pt x="481" y="840"/>
                    <a:pt x="480" y="840"/>
                  </a:cubicBezTo>
                  <a:lnTo>
                    <a:pt x="401" y="848"/>
                  </a:lnTo>
                  <a:cubicBezTo>
                    <a:pt x="401" y="848"/>
                    <a:pt x="400" y="848"/>
                    <a:pt x="400" y="848"/>
                  </a:cubicBezTo>
                  <a:lnTo>
                    <a:pt x="321" y="840"/>
                  </a:lnTo>
                  <a:cubicBezTo>
                    <a:pt x="320" y="840"/>
                    <a:pt x="319" y="840"/>
                    <a:pt x="319" y="840"/>
                  </a:cubicBezTo>
                  <a:lnTo>
                    <a:pt x="246" y="815"/>
                  </a:lnTo>
                  <a:cubicBezTo>
                    <a:pt x="245" y="815"/>
                    <a:pt x="245" y="815"/>
                    <a:pt x="245" y="814"/>
                  </a:cubicBezTo>
                  <a:lnTo>
                    <a:pt x="178" y="776"/>
                  </a:lnTo>
                  <a:cubicBezTo>
                    <a:pt x="177" y="776"/>
                    <a:pt x="177" y="776"/>
                    <a:pt x="176" y="775"/>
                  </a:cubicBezTo>
                  <a:lnTo>
                    <a:pt x="118" y="724"/>
                  </a:lnTo>
                  <a:cubicBezTo>
                    <a:pt x="118" y="724"/>
                    <a:pt x="117" y="724"/>
                    <a:pt x="117" y="723"/>
                  </a:cubicBezTo>
                  <a:lnTo>
                    <a:pt x="69" y="662"/>
                  </a:lnTo>
                  <a:cubicBezTo>
                    <a:pt x="69" y="662"/>
                    <a:pt x="69" y="662"/>
                    <a:pt x="68" y="661"/>
                  </a:cubicBezTo>
                  <a:lnTo>
                    <a:pt x="32" y="590"/>
                  </a:lnTo>
                  <a:cubicBezTo>
                    <a:pt x="32" y="590"/>
                    <a:pt x="32" y="589"/>
                    <a:pt x="32" y="589"/>
                  </a:cubicBezTo>
                  <a:lnTo>
                    <a:pt x="9" y="511"/>
                  </a:lnTo>
                  <a:cubicBezTo>
                    <a:pt x="9" y="510"/>
                    <a:pt x="9" y="510"/>
                    <a:pt x="8" y="509"/>
                  </a:cubicBezTo>
                  <a:lnTo>
                    <a:pt x="0" y="425"/>
                  </a:lnTo>
                  <a:close/>
                  <a:moveTo>
                    <a:pt x="24" y="508"/>
                  </a:moveTo>
                  <a:lnTo>
                    <a:pt x="24" y="506"/>
                  </a:lnTo>
                  <a:lnTo>
                    <a:pt x="47" y="584"/>
                  </a:lnTo>
                  <a:lnTo>
                    <a:pt x="47" y="583"/>
                  </a:lnTo>
                  <a:lnTo>
                    <a:pt x="83" y="654"/>
                  </a:lnTo>
                  <a:lnTo>
                    <a:pt x="82" y="653"/>
                  </a:lnTo>
                  <a:lnTo>
                    <a:pt x="130" y="714"/>
                  </a:lnTo>
                  <a:lnTo>
                    <a:pt x="129" y="712"/>
                  </a:lnTo>
                  <a:lnTo>
                    <a:pt x="187" y="763"/>
                  </a:lnTo>
                  <a:lnTo>
                    <a:pt x="185" y="763"/>
                  </a:lnTo>
                  <a:lnTo>
                    <a:pt x="252" y="801"/>
                  </a:lnTo>
                  <a:lnTo>
                    <a:pt x="251" y="800"/>
                  </a:lnTo>
                  <a:lnTo>
                    <a:pt x="324" y="825"/>
                  </a:lnTo>
                  <a:lnTo>
                    <a:pt x="322" y="825"/>
                  </a:lnTo>
                  <a:lnTo>
                    <a:pt x="401" y="833"/>
                  </a:lnTo>
                  <a:lnTo>
                    <a:pt x="400" y="833"/>
                  </a:lnTo>
                  <a:lnTo>
                    <a:pt x="479" y="825"/>
                  </a:lnTo>
                  <a:lnTo>
                    <a:pt x="477" y="825"/>
                  </a:lnTo>
                  <a:lnTo>
                    <a:pt x="551" y="800"/>
                  </a:lnTo>
                  <a:lnTo>
                    <a:pt x="549" y="801"/>
                  </a:lnTo>
                  <a:lnTo>
                    <a:pt x="615" y="763"/>
                  </a:lnTo>
                  <a:lnTo>
                    <a:pt x="614" y="763"/>
                  </a:lnTo>
                  <a:lnTo>
                    <a:pt x="672" y="712"/>
                  </a:lnTo>
                  <a:lnTo>
                    <a:pt x="671" y="714"/>
                  </a:lnTo>
                  <a:lnTo>
                    <a:pt x="719" y="653"/>
                  </a:lnTo>
                  <a:lnTo>
                    <a:pt x="718" y="654"/>
                  </a:lnTo>
                  <a:lnTo>
                    <a:pt x="754" y="583"/>
                  </a:lnTo>
                  <a:lnTo>
                    <a:pt x="754" y="584"/>
                  </a:lnTo>
                  <a:lnTo>
                    <a:pt x="777" y="506"/>
                  </a:lnTo>
                  <a:lnTo>
                    <a:pt x="776" y="508"/>
                  </a:lnTo>
                  <a:lnTo>
                    <a:pt x="784" y="424"/>
                  </a:lnTo>
                  <a:lnTo>
                    <a:pt x="784" y="425"/>
                  </a:lnTo>
                  <a:lnTo>
                    <a:pt x="776" y="341"/>
                  </a:lnTo>
                  <a:lnTo>
                    <a:pt x="777" y="343"/>
                  </a:lnTo>
                  <a:lnTo>
                    <a:pt x="754" y="265"/>
                  </a:lnTo>
                  <a:lnTo>
                    <a:pt x="754" y="266"/>
                  </a:lnTo>
                  <a:lnTo>
                    <a:pt x="718" y="196"/>
                  </a:lnTo>
                  <a:lnTo>
                    <a:pt x="719" y="197"/>
                  </a:lnTo>
                  <a:lnTo>
                    <a:pt x="671" y="135"/>
                  </a:lnTo>
                  <a:lnTo>
                    <a:pt x="672" y="136"/>
                  </a:lnTo>
                  <a:lnTo>
                    <a:pt x="614" y="85"/>
                  </a:lnTo>
                  <a:lnTo>
                    <a:pt x="615" y="86"/>
                  </a:lnTo>
                  <a:lnTo>
                    <a:pt x="549" y="48"/>
                  </a:lnTo>
                  <a:lnTo>
                    <a:pt x="551" y="49"/>
                  </a:lnTo>
                  <a:lnTo>
                    <a:pt x="477" y="24"/>
                  </a:lnTo>
                  <a:lnTo>
                    <a:pt x="479" y="24"/>
                  </a:lnTo>
                  <a:lnTo>
                    <a:pt x="400" y="16"/>
                  </a:lnTo>
                  <a:lnTo>
                    <a:pt x="401" y="16"/>
                  </a:lnTo>
                  <a:lnTo>
                    <a:pt x="322" y="24"/>
                  </a:lnTo>
                  <a:lnTo>
                    <a:pt x="324" y="24"/>
                  </a:lnTo>
                  <a:lnTo>
                    <a:pt x="251" y="49"/>
                  </a:lnTo>
                  <a:lnTo>
                    <a:pt x="252" y="48"/>
                  </a:lnTo>
                  <a:lnTo>
                    <a:pt x="185" y="86"/>
                  </a:lnTo>
                  <a:lnTo>
                    <a:pt x="187" y="85"/>
                  </a:lnTo>
                  <a:lnTo>
                    <a:pt x="129" y="136"/>
                  </a:lnTo>
                  <a:lnTo>
                    <a:pt x="130" y="135"/>
                  </a:lnTo>
                  <a:lnTo>
                    <a:pt x="82" y="197"/>
                  </a:lnTo>
                  <a:lnTo>
                    <a:pt x="83" y="196"/>
                  </a:lnTo>
                  <a:lnTo>
                    <a:pt x="47" y="266"/>
                  </a:lnTo>
                  <a:lnTo>
                    <a:pt x="47" y="265"/>
                  </a:lnTo>
                  <a:lnTo>
                    <a:pt x="24" y="343"/>
                  </a:lnTo>
                  <a:lnTo>
                    <a:pt x="24" y="341"/>
                  </a:lnTo>
                  <a:lnTo>
                    <a:pt x="16" y="425"/>
                  </a:lnTo>
                  <a:lnTo>
                    <a:pt x="16" y="424"/>
                  </a:lnTo>
                  <a:lnTo>
                    <a:pt x="24" y="508"/>
                  </a:lnTo>
                  <a:close/>
                </a:path>
              </a:pathLst>
            </a:custGeom>
            <a:solidFill>
              <a:srgbClr val="000000"/>
            </a:solidFill>
            <a:ln w="0">
              <a:solidFill>
                <a:srgbClr val="000000"/>
              </a:solidFill>
              <a:round/>
              <a:headEnd/>
              <a:tailEnd/>
            </a:ln>
          </p:spPr>
          <p:txBody>
            <a:bodyPr/>
            <a:lstStyle/>
            <a:p>
              <a:endParaRPr lang="en-US"/>
            </a:p>
          </p:txBody>
        </p:sp>
        <p:sp>
          <p:nvSpPr>
            <p:cNvPr id="42031" name="Freeform 11"/>
            <p:cNvSpPr>
              <a:spLocks/>
            </p:cNvSpPr>
            <p:nvPr/>
          </p:nvSpPr>
          <p:spPr bwMode="auto">
            <a:xfrm>
              <a:off x="3245" y="711"/>
              <a:ext cx="221" cy="234"/>
            </a:xfrm>
            <a:custGeom>
              <a:avLst/>
              <a:gdLst>
                <a:gd name="T0" fmla="*/ 0 w 784"/>
                <a:gd name="T1" fmla="*/ 9 h 832"/>
                <a:gd name="T2" fmla="*/ 9 w 784"/>
                <a:gd name="T3" fmla="*/ 0 h 832"/>
                <a:gd name="T4" fmla="*/ 9 w 784"/>
                <a:gd name="T5" fmla="*/ 0 h 832"/>
                <a:gd name="T6" fmla="*/ 9 w 784"/>
                <a:gd name="T7" fmla="*/ 0 h 832"/>
                <a:gd name="T8" fmla="*/ 17 w 784"/>
                <a:gd name="T9" fmla="*/ 9 h 832"/>
                <a:gd name="T10" fmla="*/ 17 w 784"/>
                <a:gd name="T11" fmla="*/ 9 h 832"/>
                <a:gd name="T12" fmla="*/ 17 w 784"/>
                <a:gd name="T13" fmla="*/ 9 h 832"/>
                <a:gd name="T14" fmla="*/ 9 w 784"/>
                <a:gd name="T15" fmla="*/ 19 h 832"/>
                <a:gd name="T16" fmla="*/ 9 w 784"/>
                <a:gd name="T17" fmla="*/ 19 h 832"/>
                <a:gd name="T18" fmla="*/ 9 w 784"/>
                <a:gd name="T19" fmla="*/ 19 h 832"/>
                <a:gd name="T20" fmla="*/ 0 w 784"/>
                <a:gd name="T21" fmla="*/ 9 h 832"/>
                <a:gd name="T22" fmla="*/ 0 w 784"/>
                <a:gd name="T23" fmla="*/ 9 h 8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4"/>
                <a:gd name="T37" fmla="*/ 0 h 832"/>
                <a:gd name="T38" fmla="*/ 784 w 784"/>
                <a:gd name="T39" fmla="*/ 832 h 8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4" h="832">
                  <a:moveTo>
                    <a:pt x="0" y="416"/>
                  </a:moveTo>
                  <a:cubicBezTo>
                    <a:pt x="0" y="187"/>
                    <a:pt x="176" y="0"/>
                    <a:pt x="392" y="0"/>
                  </a:cubicBezTo>
                  <a:cubicBezTo>
                    <a:pt x="392" y="0"/>
                    <a:pt x="392" y="0"/>
                    <a:pt x="392" y="0"/>
                  </a:cubicBezTo>
                  <a:cubicBezTo>
                    <a:pt x="609" y="0"/>
                    <a:pt x="784" y="187"/>
                    <a:pt x="784" y="416"/>
                  </a:cubicBezTo>
                  <a:cubicBezTo>
                    <a:pt x="784" y="416"/>
                    <a:pt x="784" y="416"/>
                    <a:pt x="784" y="416"/>
                  </a:cubicBezTo>
                  <a:cubicBezTo>
                    <a:pt x="784" y="646"/>
                    <a:pt x="609" y="832"/>
                    <a:pt x="392" y="832"/>
                  </a:cubicBezTo>
                  <a:cubicBezTo>
                    <a:pt x="392" y="832"/>
                    <a:pt x="392" y="832"/>
                    <a:pt x="392" y="832"/>
                  </a:cubicBezTo>
                  <a:cubicBezTo>
                    <a:pt x="176" y="832"/>
                    <a:pt x="0" y="646"/>
                    <a:pt x="0" y="416"/>
                  </a:cubicBezTo>
                  <a:cubicBezTo>
                    <a:pt x="0" y="416"/>
                    <a:pt x="0" y="416"/>
                    <a:pt x="0" y="416"/>
                  </a:cubicBezTo>
                  <a:close/>
                </a:path>
              </a:pathLst>
            </a:custGeom>
            <a:solidFill>
              <a:srgbClr val="FF0000"/>
            </a:solidFill>
            <a:ln w="0">
              <a:solidFill>
                <a:srgbClr val="000000"/>
              </a:solidFill>
              <a:round/>
              <a:headEnd/>
              <a:tailEnd/>
            </a:ln>
          </p:spPr>
          <p:txBody>
            <a:bodyPr/>
            <a:lstStyle/>
            <a:p>
              <a:endParaRPr lang="en-US"/>
            </a:p>
          </p:txBody>
        </p:sp>
        <p:sp>
          <p:nvSpPr>
            <p:cNvPr id="42032" name="Freeform 13"/>
            <p:cNvSpPr>
              <a:spLocks/>
            </p:cNvSpPr>
            <p:nvPr/>
          </p:nvSpPr>
          <p:spPr bwMode="auto">
            <a:xfrm>
              <a:off x="3669" y="711"/>
              <a:ext cx="220" cy="234"/>
            </a:xfrm>
            <a:custGeom>
              <a:avLst/>
              <a:gdLst>
                <a:gd name="T0" fmla="*/ 0 w 784"/>
                <a:gd name="T1" fmla="*/ 9 h 832"/>
                <a:gd name="T2" fmla="*/ 9 w 784"/>
                <a:gd name="T3" fmla="*/ 0 h 832"/>
                <a:gd name="T4" fmla="*/ 9 w 784"/>
                <a:gd name="T5" fmla="*/ 0 h 832"/>
                <a:gd name="T6" fmla="*/ 9 w 784"/>
                <a:gd name="T7" fmla="*/ 0 h 832"/>
                <a:gd name="T8" fmla="*/ 17 w 784"/>
                <a:gd name="T9" fmla="*/ 9 h 832"/>
                <a:gd name="T10" fmla="*/ 17 w 784"/>
                <a:gd name="T11" fmla="*/ 9 h 832"/>
                <a:gd name="T12" fmla="*/ 17 w 784"/>
                <a:gd name="T13" fmla="*/ 9 h 832"/>
                <a:gd name="T14" fmla="*/ 9 w 784"/>
                <a:gd name="T15" fmla="*/ 19 h 832"/>
                <a:gd name="T16" fmla="*/ 9 w 784"/>
                <a:gd name="T17" fmla="*/ 19 h 832"/>
                <a:gd name="T18" fmla="*/ 9 w 784"/>
                <a:gd name="T19" fmla="*/ 19 h 832"/>
                <a:gd name="T20" fmla="*/ 0 w 784"/>
                <a:gd name="T21" fmla="*/ 9 h 832"/>
                <a:gd name="T22" fmla="*/ 0 w 784"/>
                <a:gd name="T23" fmla="*/ 9 h 8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4"/>
                <a:gd name="T37" fmla="*/ 0 h 832"/>
                <a:gd name="T38" fmla="*/ 784 w 784"/>
                <a:gd name="T39" fmla="*/ 832 h 8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4" h="832">
                  <a:moveTo>
                    <a:pt x="0" y="416"/>
                  </a:moveTo>
                  <a:cubicBezTo>
                    <a:pt x="0" y="187"/>
                    <a:pt x="176" y="0"/>
                    <a:pt x="392" y="0"/>
                  </a:cubicBezTo>
                  <a:cubicBezTo>
                    <a:pt x="392" y="0"/>
                    <a:pt x="392" y="0"/>
                    <a:pt x="392" y="0"/>
                  </a:cubicBezTo>
                  <a:cubicBezTo>
                    <a:pt x="609" y="0"/>
                    <a:pt x="784" y="187"/>
                    <a:pt x="784" y="416"/>
                  </a:cubicBezTo>
                  <a:cubicBezTo>
                    <a:pt x="784" y="416"/>
                    <a:pt x="784" y="416"/>
                    <a:pt x="784" y="416"/>
                  </a:cubicBezTo>
                  <a:cubicBezTo>
                    <a:pt x="784" y="646"/>
                    <a:pt x="609" y="832"/>
                    <a:pt x="392" y="832"/>
                  </a:cubicBezTo>
                  <a:cubicBezTo>
                    <a:pt x="392" y="832"/>
                    <a:pt x="392" y="832"/>
                    <a:pt x="392" y="832"/>
                  </a:cubicBezTo>
                  <a:cubicBezTo>
                    <a:pt x="176" y="832"/>
                    <a:pt x="0" y="646"/>
                    <a:pt x="0" y="416"/>
                  </a:cubicBezTo>
                  <a:cubicBezTo>
                    <a:pt x="0" y="416"/>
                    <a:pt x="0" y="416"/>
                    <a:pt x="0" y="416"/>
                  </a:cubicBezTo>
                  <a:close/>
                </a:path>
              </a:pathLst>
            </a:custGeom>
            <a:solidFill>
              <a:srgbClr val="FF0000"/>
            </a:solidFill>
            <a:ln w="0">
              <a:solidFill>
                <a:srgbClr val="000000"/>
              </a:solidFill>
              <a:round/>
              <a:headEnd/>
              <a:tailEnd/>
            </a:ln>
          </p:spPr>
          <p:txBody>
            <a:bodyPr/>
            <a:lstStyle/>
            <a:p>
              <a:endParaRPr lang="en-US"/>
            </a:p>
          </p:txBody>
        </p:sp>
        <p:sp>
          <p:nvSpPr>
            <p:cNvPr id="42033" name="Freeform 14"/>
            <p:cNvSpPr>
              <a:spLocks noEditPoints="1"/>
            </p:cNvSpPr>
            <p:nvPr/>
          </p:nvSpPr>
          <p:spPr bwMode="auto">
            <a:xfrm>
              <a:off x="3666" y="709"/>
              <a:ext cx="225" cy="238"/>
            </a:xfrm>
            <a:custGeom>
              <a:avLst/>
              <a:gdLst>
                <a:gd name="T0" fmla="*/ 0 w 800"/>
                <a:gd name="T1" fmla="*/ 8 h 848"/>
                <a:gd name="T2" fmla="*/ 1 w 800"/>
                <a:gd name="T3" fmla="*/ 6 h 848"/>
                <a:gd name="T4" fmla="*/ 3 w 800"/>
                <a:gd name="T5" fmla="*/ 3 h 848"/>
                <a:gd name="T6" fmla="*/ 4 w 800"/>
                <a:gd name="T7" fmla="*/ 2 h 848"/>
                <a:gd name="T8" fmla="*/ 7 w 800"/>
                <a:gd name="T9" fmla="*/ 0 h 848"/>
                <a:gd name="T10" fmla="*/ 9 w 800"/>
                <a:gd name="T11" fmla="*/ 0 h 848"/>
                <a:gd name="T12" fmla="*/ 12 w 800"/>
                <a:gd name="T13" fmla="*/ 1 h 848"/>
                <a:gd name="T14" fmla="*/ 14 w 800"/>
                <a:gd name="T15" fmla="*/ 2 h 848"/>
                <a:gd name="T16" fmla="*/ 16 w 800"/>
                <a:gd name="T17" fmla="*/ 4 h 848"/>
                <a:gd name="T18" fmla="*/ 17 w 800"/>
                <a:gd name="T19" fmla="*/ 6 h 848"/>
                <a:gd name="T20" fmla="*/ 18 w 800"/>
                <a:gd name="T21" fmla="*/ 9 h 848"/>
                <a:gd name="T22" fmla="*/ 18 w 800"/>
                <a:gd name="T23" fmla="*/ 11 h 848"/>
                <a:gd name="T24" fmla="*/ 16 w 800"/>
                <a:gd name="T25" fmla="*/ 15 h 848"/>
                <a:gd name="T26" fmla="*/ 15 w 800"/>
                <a:gd name="T27" fmla="*/ 16 h 848"/>
                <a:gd name="T28" fmla="*/ 12 w 800"/>
                <a:gd name="T29" fmla="*/ 18 h 848"/>
                <a:gd name="T30" fmla="*/ 11 w 800"/>
                <a:gd name="T31" fmla="*/ 19 h 848"/>
                <a:gd name="T32" fmla="*/ 7 w 800"/>
                <a:gd name="T33" fmla="*/ 19 h 848"/>
                <a:gd name="T34" fmla="*/ 5 w 800"/>
                <a:gd name="T35" fmla="*/ 18 h 848"/>
                <a:gd name="T36" fmla="*/ 3 w 800"/>
                <a:gd name="T37" fmla="*/ 16 h 848"/>
                <a:gd name="T38" fmla="*/ 1 w 800"/>
                <a:gd name="T39" fmla="*/ 15 h 848"/>
                <a:gd name="T40" fmla="*/ 0 w 800"/>
                <a:gd name="T41" fmla="*/ 11 h 848"/>
                <a:gd name="T42" fmla="*/ 1 w 800"/>
                <a:gd name="T43" fmla="*/ 11 h 848"/>
                <a:gd name="T44" fmla="*/ 1 w 800"/>
                <a:gd name="T45" fmla="*/ 13 h 848"/>
                <a:gd name="T46" fmla="*/ 3 w 800"/>
                <a:gd name="T47" fmla="*/ 16 h 848"/>
                <a:gd name="T48" fmla="*/ 4 w 800"/>
                <a:gd name="T49" fmla="*/ 17 h 848"/>
                <a:gd name="T50" fmla="*/ 7 w 800"/>
                <a:gd name="T51" fmla="*/ 18 h 848"/>
                <a:gd name="T52" fmla="*/ 9 w 800"/>
                <a:gd name="T53" fmla="*/ 19 h 848"/>
                <a:gd name="T54" fmla="*/ 12 w 800"/>
                <a:gd name="T55" fmla="*/ 18 h 848"/>
                <a:gd name="T56" fmla="*/ 14 w 800"/>
                <a:gd name="T57" fmla="*/ 17 h 848"/>
                <a:gd name="T58" fmla="*/ 16 w 800"/>
                <a:gd name="T59" fmla="*/ 14 h 848"/>
                <a:gd name="T60" fmla="*/ 17 w 800"/>
                <a:gd name="T61" fmla="*/ 13 h 848"/>
                <a:gd name="T62" fmla="*/ 17 w 800"/>
                <a:gd name="T63" fmla="*/ 9 h 848"/>
                <a:gd name="T64" fmla="*/ 17 w 800"/>
                <a:gd name="T65" fmla="*/ 8 h 848"/>
                <a:gd name="T66" fmla="*/ 16 w 800"/>
                <a:gd name="T67" fmla="*/ 4 h 848"/>
                <a:gd name="T68" fmla="*/ 15 w 800"/>
                <a:gd name="T69" fmla="*/ 3 h 848"/>
                <a:gd name="T70" fmla="*/ 12 w 800"/>
                <a:gd name="T71" fmla="*/ 1 h 848"/>
                <a:gd name="T72" fmla="*/ 11 w 800"/>
                <a:gd name="T73" fmla="*/ 1 h 848"/>
                <a:gd name="T74" fmla="*/ 7 w 800"/>
                <a:gd name="T75" fmla="*/ 1 h 848"/>
                <a:gd name="T76" fmla="*/ 6 w 800"/>
                <a:gd name="T77" fmla="*/ 1 h 848"/>
                <a:gd name="T78" fmla="*/ 3 w 800"/>
                <a:gd name="T79" fmla="*/ 3 h 848"/>
                <a:gd name="T80" fmla="*/ 2 w 800"/>
                <a:gd name="T81" fmla="*/ 4 h 848"/>
                <a:gd name="T82" fmla="*/ 1 w 800"/>
                <a:gd name="T83" fmla="*/ 8 h 848"/>
                <a:gd name="T84" fmla="*/ 0 w 800"/>
                <a:gd name="T85" fmla="*/ 9 h 8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00"/>
                <a:gd name="T130" fmla="*/ 0 h 848"/>
                <a:gd name="T131" fmla="*/ 800 w 800"/>
                <a:gd name="T132" fmla="*/ 848 h 84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00" h="848">
                  <a:moveTo>
                    <a:pt x="0" y="425"/>
                  </a:moveTo>
                  <a:cubicBezTo>
                    <a:pt x="0" y="425"/>
                    <a:pt x="0" y="424"/>
                    <a:pt x="0" y="424"/>
                  </a:cubicBezTo>
                  <a:lnTo>
                    <a:pt x="8" y="340"/>
                  </a:lnTo>
                  <a:cubicBezTo>
                    <a:pt x="9" y="339"/>
                    <a:pt x="9" y="339"/>
                    <a:pt x="9" y="338"/>
                  </a:cubicBezTo>
                  <a:lnTo>
                    <a:pt x="32" y="260"/>
                  </a:lnTo>
                  <a:cubicBezTo>
                    <a:pt x="32" y="260"/>
                    <a:pt x="32" y="259"/>
                    <a:pt x="32" y="259"/>
                  </a:cubicBezTo>
                  <a:lnTo>
                    <a:pt x="68" y="189"/>
                  </a:lnTo>
                  <a:cubicBezTo>
                    <a:pt x="69" y="188"/>
                    <a:pt x="69" y="188"/>
                    <a:pt x="69" y="188"/>
                  </a:cubicBezTo>
                  <a:lnTo>
                    <a:pt x="117" y="126"/>
                  </a:lnTo>
                  <a:cubicBezTo>
                    <a:pt x="117" y="125"/>
                    <a:pt x="118" y="125"/>
                    <a:pt x="118" y="124"/>
                  </a:cubicBezTo>
                  <a:lnTo>
                    <a:pt x="176" y="73"/>
                  </a:lnTo>
                  <a:cubicBezTo>
                    <a:pt x="177" y="73"/>
                    <a:pt x="177" y="73"/>
                    <a:pt x="178" y="73"/>
                  </a:cubicBezTo>
                  <a:lnTo>
                    <a:pt x="245" y="35"/>
                  </a:lnTo>
                  <a:cubicBezTo>
                    <a:pt x="245" y="34"/>
                    <a:pt x="245" y="34"/>
                    <a:pt x="246" y="34"/>
                  </a:cubicBezTo>
                  <a:lnTo>
                    <a:pt x="319" y="9"/>
                  </a:lnTo>
                  <a:cubicBezTo>
                    <a:pt x="319" y="9"/>
                    <a:pt x="320" y="9"/>
                    <a:pt x="321" y="9"/>
                  </a:cubicBezTo>
                  <a:lnTo>
                    <a:pt x="400" y="1"/>
                  </a:lnTo>
                  <a:cubicBezTo>
                    <a:pt x="400" y="0"/>
                    <a:pt x="401" y="0"/>
                    <a:pt x="401" y="1"/>
                  </a:cubicBezTo>
                  <a:lnTo>
                    <a:pt x="480" y="9"/>
                  </a:lnTo>
                  <a:cubicBezTo>
                    <a:pt x="481" y="9"/>
                    <a:pt x="481" y="9"/>
                    <a:pt x="482" y="9"/>
                  </a:cubicBezTo>
                  <a:lnTo>
                    <a:pt x="556" y="34"/>
                  </a:lnTo>
                  <a:cubicBezTo>
                    <a:pt x="557" y="34"/>
                    <a:pt x="557" y="34"/>
                    <a:pt x="557" y="35"/>
                  </a:cubicBezTo>
                  <a:lnTo>
                    <a:pt x="623" y="73"/>
                  </a:lnTo>
                  <a:cubicBezTo>
                    <a:pt x="624" y="73"/>
                    <a:pt x="624" y="73"/>
                    <a:pt x="625" y="73"/>
                  </a:cubicBezTo>
                  <a:lnTo>
                    <a:pt x="683" y="124"/>
                  </a:lnTo>
                  <a:cubicBezTo>
                    <a:pt x="683" y="125"/>
                    <a:pt x="683" y="125"/>
                    <a:pt x="684" y="126"/>
                  </a:cubicBezTo>
                  <a:lnTo>
                    <a:pt x="732" y="188"/>
                  </a:lnTo>
                  <a:cubicBezTo>
                    <a:pt x="732" y="188"/>
                    <a:pt x="732" y="188"/>
                    <a:pt x="733" y="189"/>
                  </a:cubicBezTo>
                  <a:lnTo>
                    <a:pt x="769" y="259"/>
                  </a:lnTo>
                  <a:cubicBezTo>
                    <a:pt x="769" y="259"/>
                    <a:pt x="769" y="260"/>
                    <a:pt x="769" y="260"/>
                  </a:cubicBezTo>
                  <a:lnTo>
                    <a:pt x="792" y="338"/>
                  </a:lnTo>
                  <a:cubicBezTo>
                    <a:pt x="792" y="339"/>
                    <a:pt x="792" y="339"/>
                    <a:pt x="792" y="340"/>
                  </a:cubicBezTo>
                  <a:lnTo>
                    <a:pt x="800" y="424"/>
                  </a:lnTo>
                  <a:cubicBezTo>
                    <a:pt x="800" y="424"/>
                    <a:pt x="800" y="425"/>
                    <a:pt x="800" y="425"/>
                  </a:cubicBezTo>
                  <a:lnTo>
                    <a:pt x="792" y="509"/>
                  </a:lnTo>
                  <a:cubicBezTo>
                    <a:pt x="792" y="510"/>
                    <a:pt x="792" y="510"/>
                    <a:pt x="792" y="511"/>
                  </a:cubicBezTo>
                  <a:lnTo>
                    <a:pt x="769" y="589"/>
                  </a:lnTo>
                  <a:cubicBezTo>
                    <a:pt x="769" y="589"/>
                    <a:pt x="769" y="590"/>
                    <a:pt x="769" y="590"/>
                  </a:cubicBezTo>
                  <a:lnTo>
                    <a:pt x="733" y="661"/>
                  </a:lnTo>
                  <a:cubicBezTo>
                    <a:pt x="732" y="662"/>
                    <a:pt x="732" y="662"/>
                    <a:pt x="732" y="662"/>
                  </a:cubicBezTo>
                  <a:lnTo>
                    <a:pt x="684" y="723"/>
                  </a:lnTo>
                  <a:cubicBezTo>
                    <a:pt x="683" y="724"/>
                    <a:pt x="683" y="724"/>
                    <a:pt x="683" y="724"/>
                  </a:cubicBezTo>
                  <a:lnTo>
                    <a:pt x="625" y="775"/>
                  </a:lnTo>
                  <a:cubicBezTo>
                    <a:pt x="624" y="776"/>
                    <a:pt x="624" y="776"/>
                    <a:pt x="623" y="776"/>
                  </a:cubicBezTo>
                  <a:lnTo>
                    <a:pt x="557" y="814"/>
                  </a:lnTo>
                  <a:cubicBezTo>
                    <a:pt x="557" y="815"/>
                    <a:pt x="557" y="815"/>
                    <a:pt x="556" y="815"/>
                  </a:cubicBezTo>
                  <a:lnTo>
                    <a:pt x="482" y="840"/>
                  </a:lnTo>
                  <a:cubicBezTo>
                    <a:pt x="481" y="840"/>
                    <a:pt x="481" y="840"/>
                    <a:pt x="480" y="840"/>
                  </a:cubicBezTo>
                  <a:lnTo>
                    <a:pt x="401" y="848"/>
                  </a:lnTo>
                  <a:cubicBezTo>
                    <a:pt x="401" y="848"/>
                    <a:pt x="400" y="848"/>
                    <a:pt x="400" y="848"/>
                  </a:cubicBezTo>
                  <a:lnTo>
                    <a:pt x="321" y="840"/>
                  </a:lnTo>
                  <a:cubicBezTo>
                    <a:pt x="320" y="840"/>
                    <a:pt x="319" y="840"/>
                    <a:pt x="319" y="840"/>
                  </a:cubicBezTo>
                  <a:lnTo>
                    <a:pt x="246" y="815"/>
                  </a:lnTo>
                  <a:cubicBezTo>
                    <a:pt x="245" y="815"/>
                    <a:pt x="245" y="815"/>
                    <a:pt x="245" y="814"/>
                  </a:cubicBezTo>
                  <a:lnTo>
                    <a:pt x="178" y="776"/>
                  </a:lnTo>
                  <a:cubicBezTo>
                    <a:pt x="177" y="776"/>
                    <a:pt x="177" y="776"/>
                    <a:pt x="176" y="775"/>
                  </a:cubicBezTo>
                  <a:lnTo>
                    <a:pt x="118" y="724"/>
                  </a:lnTo>
                  <a:cubicBezTo>
                    <a:pt x="118" y="724"/>
                    <a:pt x="117" y="724"/>
                    <a:pt x="117" y="723"/>
                  </a:cubicBezTo>
                  <a:lnTo>
                    <a:pt x="69" y="662"/>
                  </a:lnTo>
                  <a:cubicBezTo>
                    <a:pt x="69" y="662"/>
                    <a:pt x="69" y="662"/>
                    <a:pt x="68" y="661"/>
                  </a:cubicBezTo>
                  <a:lnTo>
                    <a:pt x="32" y="590"/>
                  </a:lnTo>
                  <a:cubicBezTo>
                    <a:pt x="32" y="590"/>
                    <a:pt x="32" y="589"/>
                    <a:pt x="32" y="589"/>
                  </a:cubicBezTo>
                  <a:lnTo>
                    <a:pt x="9" y="511"/>
                  </a:lnTo>
                  <a:cubicBezTo>
                    <a:pt x="9" y="510"/>
                    <a:pt x="9" y="510"/>
                    <a:pt x="8" y="509"/>
                  </a:cubicBezTo>
                  <a:lnTo>
                    <a:pt x="0" y="425"/>
                  </a:lnTo>
                  <a:close/>
                  <a:moveTo>
                    <a:pt x="24" y="508"/>
                  </a:moveTo>
                  <a:lnTo>
                    <a:pt x="24" y="506"/>
                  </a:lnTo>
                  <a:lnTo>
                    <a:pt x="47" y="584"/>
                  </a:lnTo>
                  <a:lnTo>
                    <a:pt x="47" y="583"/>
                  </a:lnTo>
                  <a:lnTo>
                    <a:pt x="83" y="654"/>
                  </a:lnTo>
                  <a:lnTo>
                    <a:pt x="82" y="653"/>
                  </a:lnTo>
                  <a:lnTo>
                    <a:pt x="130" y="714"/>
                  </a:lnTo>
                  <a:lnTo>
                    <a:pt x="129" y="712"/>
                  </a:lnTo>
                  <a:lnTo>
                    <a:pt x="187" y="763"/>
                  </a:lnTo>
                  <a:lnTo>
                    <a:pt x="185" y="763"/>
                  </a:lnTo>
                  <a:lnTo>
                    <a:pt x="252" y="801"/>
                  </a:lnTo>
                  <a:lnTo>
                    <a:pt x="251" y="800"/>
                  </a:lnTo>
                  <a:lnTo>
                    <a:pt x="324" y="825"/>
                  </a:lnTo>
                  <a:lnTo>
                    <a:pt x="322" y="825"/>
                  </a:lnTo>
                  <a:lnTo>
                    <a:pt x="401" y="833"/>
                  </a:lnTo>
                  <a:lnTo>
                    <a:pt x="400" y="833"/>
                  </a:lnTo>
                  <a:lnTo>
                    <a:pt x="479" y="825"/>
                  </a:lnTo>
                  <a:lnTo>
                    <a:pt x="477" y="825"/>
                  </a:lnTo>
                  <a:lnTo>
                    <a:pt x="551" y="800"/>
                  </a:lnTo>
                  <a:lnTo>
                    <a:pt x="549" y="801"/>
                  </a:lnTo>
                  <a:lnTo>
                    <a:pt x="615" y="763"/>
                  </a:lnTo>
                  <a:lnTo>
                    <a:pt x="614" y="763"/>
                  </a:lnTo>
                  <a:lnTo>
                    <a:pt x="672" y="712"/>
                  </a:lnTo>
                  <a:lnTo>
                    <a:pt x="671" y="714"/>
                  </a:lnTo>
                  <a:lnTo>
                    <a:pt x="719" y="653"/>
                  </a:lnTo>
                  <a:lnTo>
                    <a:pt x="718" y="654"/>
                  </a:lnTo>
                  <a:lnTo>
                    <a:pt x="754" y="583"/>
                  </a:lnTo>
                  <a:lnTo>
                    <a:pt x="754" y="584"/>
                  </a:lnTo>
                  <a:lnTo>
                    <a:pt x="777" y="506"/>
                  </a:lnTo>
                  <a:lnTo>
                    <a:pt x="776" y="508"/>
                  </a:lnTo>
                  <a:lnTo>
                    <a:pt x="784" y="424"/>
                  </a:lnTo>
                  <a:lnTo>
                    <a:pt x="784" y="425"/>
                  </a:lnTo>
                  <a:lnTo>
                    <a:pt x="776" y="341"/>
                  </a:lnTo>
                  <a:lnTo>
                    <a:pt x="777" y="343"/>
                  </a:lnTo>
                  <a:lnTo>
                    <a:pt x="754" y="265"/>
                  </a:lnTo>
                  <a:lnTo>
                    <a:pt x="754" y="266"/>
                  </a:lnTo>
                  <a:lnTo>
                    <a:pt x="718" y="196"/>
                  </a:lnTo>
                  <a:lnTo>
                    <a:pt x="719" y="197"/>
                  </a:lnTo>
                  <a:lnTo>
                    <a:pt x="671" y="135"/>
                  </a:lnTo>
                  <a:lnTo>
                    <a:pt x="672" y="136"/>
                  </a:lnTo>
                  <a:lnTo>
                    <a:pt x="614" y="85"/>
                  </a:lnTo>
                  <a:lnTo>
                    <a:pt x="615" y="86"/>
                  </a:lnTo>
                  <a:lnTo>
                    <a:pt x="549" y="48"/>
                  </a:lnTo>
                  <a:lnTo>
                    <a:pt x="551" y="49"/>
                  </a:lnTo>
                  <a:lnTo>
                    <a:pt x="477" y="24"/>
                  </a:lnTo>
                  <a:lnTo>
                    <a:pt x="479" y="24"/>
                  </a:lnTo>
                  <a:lnTo>
                    <a:pt x="400" y="16"/>
                  </a:lnTo>
                  <a:lnTo>
                    <a:pt x="401" y="16"/>
                  </a:lnTo>
                  <a:lnTo>
                    <a:pt x="322" y="24"/>
                  </a:lnTo>
                  <a:lnTo>
                    <a:pt x="324" y="24"/>
                  </a:lnTo>
                  <a:lnTo>
                    <a:pt x="251" y="49"/>
                  </a:lnTo>
                  <a:lnTo>
                    <a:pt x="252" y="48"/>
                  </a:lnTo>
                  <a:lnTo>
                    <a:pt x="185" y="86"/>
                  </a:lnTo>
                  <a:lnTo>
                    <a:pt x="187" y="85"/>
                  </a:lnTo>
                  <a:lnTo>
                    <a:pt x="129" y="136"/>
                  </a:lnTo>
                  <a:lnTo>
                    <a:pt x="130" y="135"/>
                  </a:lnTo>
                  <a:lnTo>
                    <a:pt x="82" y="197"/>
                  </a:lnTo>
                  <a:lnTo>
                    <a:pt x="83" y="196"/>
                  </a:lnTo>
                  <a:lnTo>
                    <a:pt x="47" y="266"/>
                  </a:lnTo>
                  <a:lnTo>
                    <a:pt x="47" y="265"/>
                  </a:lnTo>
                  <a:lnTo>
                    <a:pt x="24" y="343"/>
                  </a:lnTo>
                  <a:lnTo>
                    <a:pt x="24" y="341"/>
                  </a:lnTo>
                  <a:lnTo>
                    <a:pt x="16" y="425"/>
                  </a:lnTo>
                  <a:lnTo>
                    <a:pt x="16" y="424"/>
                  </a:lnTo>
                  <a:lnTo>
                    <a:pt x="24" y="508"/>
                  </a:lnTo>
                  <a:close/>
                </a:path>
              </a:pathLst>
            </a:custGeom>
            <a:solidFill>
              <a:srgbClr val="000000"/>
            </a:solidFill>
            <a:ln w="0">
              <a:solidFill>
                <a:srgbClr val="000000"/>
              </a:solidFill>
              <a:round/>
              <a:headEnd/>
              <a:tailEnd/>
            </a:ln>
          </p:spPr>
          <p:txBody>
            <a:bodyPr/>
            <a:lstStyle/>
            <a:p>
              <a:endParaRPr lang="en-US"/>
            </a:p>
          </p:txBody>
        </p:sp>
        <p:sp>
          <p:nvSpPr>
            <p:cNvPr id="42034" name="Freeform 17"/>
            <p:cNvSpPr>
              <a:spLocks/>
            </p:cNvSpPr>
            <p:nvPr/>
          </p:nvSpPr>
          <p:spPr bwMode="auto">
            <a:xfrm>
              <a:off x="3146" y="1148"/>
              <a:ext cx="216" cy="234"/>
            </a:xfrm>
            <a:custGeom>
              <a:avLst/>
              <a:gdLst>
                <a:gd name="T0" fmla="*/ 0 w 768"/>
                <a:gd name="T1" fmla="*/ 9 h 832"/>
                <a:gd name="T2" fmla="*/ 8 w 768"/>
                <a:gd name="T3" fmla="*/ 0 h 832"/>
                <a:gd name="T4" fmla="*/ 8 w 768"/>
                <a:gd name="T5" fmla="*/ 0 h 832"/>
                <a:gd name="T6" fmla="*/ 8 w 768"/>
                <a:gd name="T7" fmla="*/ 0 h 832"/>
                <a:gd name="T8" fmla="*/ 17 w 768"/>
                <a:gd name="T9" fmla="*/ 9 h 832"/>
                <a:gd name="T10" fmla="*/ 17 w 768"/>
                <a:gd name="T11" fmla="*/ 9 h 832"/>
                <a:gd name="T12" fmla="*/ 17 w 768"/>
                <a:gd name="T13" fmla="*/ 9 h 832"/>
                <a:gd name="T14" fmla="*/ 8 w 768"/>
                <a:gd name="T15" fmla="*/ 19 h 832"/>
                <a:gd name="T16" fmla="*/ 8 w 768"/>
                <a:gd name="T17" fmla="*/ 19 h 832"/>
                <a:gd name="T18" fmla="*/ 8 w 768"/>
                <a:gd name="T19" fmla="*/ 19 h 832"/>
                <a:gd name="T20" fmla="*/ 0 w 768"/>
                <a:gd name="T21" fmla="*/ 9 h 832"/>
                <a:gd name="T22" fmla="*/ 0 w 768"/>
                <a:gd name="T23" fmla="*/ 9 h 8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68"/>
                <a:gd name="T37" fmla="*/ 0 h 832"/>
                <a:gd name="T38" fmla="*/ 768 w 768"/>
                <a:gd name="T39" fmla="*/ 832 h 8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68" h="832">
                  <a:moveTo>
                    <a:pt x="0" y="416"/>
                  </a:moveTo>
                  <a:cubicBezTo>
                    <a:pt x="0" y="187"/>
                    <a:pt x="172" y="0"/>
                    <a:pt x="384" y="0"/>
                  </a:cubicBezTo>
                  <a:cubicBezTo>
                    <a:pt x="384" y="0"/>
                    <a:pt x="384" y="0"/>
                    <a:pt x="384" y="0"/>
                  </a:cubicBezTo>
                  <a:cubicBezTo>
                    <a:pt x="597" y="0"/>
                    <a:pt x="768" y="187"/>
                    <a:pt x="768" y="416"/>
                  </a:cubicBezTo>
                  <a:cubicBezTo>
                    <a:pt x="768" y="416"/>
                    <a:pt x="768" y="416"/>
                    <a:pt x="768" y="416"/>
                  </a:cubicBezTo>
                  <a:cubicBezTo>
                    <a:pt x="768" y="646"/>
                    <a:pt x="597" y="832"/>
                    <a:pt x="384" y="832"/>
                  </a:cubicBezTo>
                  <a:cubicBezTo>
                    <a:pt x="384" y="832"/>
                    <a:pt x="384" y="832"/>
                    <a:pt x="384" y="832"/>
                  </a:cubicBezTo>
                  <a:cubicBezTo>
                    <a:pt x="172" y="832"/>
                    <a:pt x="0" y="646"/>
                    <a:pt x="0" y="416"/>
                  </a:cubicBezTo>
                  <a:cubicBezTo>
                    <a:pt x="0" y="416"/>
                    <a:pt x="0" y="416"/>
                    <a:pt x="0" y="416"/>
                  </a:cubicBezTo>
                  <a:close/>
                </a:path>
              </a:pathLst>
            </a:custGeom>
            <a:solidFill>
              <a:srgbClr val="FFCC99"/>
            </a:solidFill>
            <a:ln w="0">
              <a:solidFill>
                <a:srgbClr val="000000"/>
              </a:solidFill>
              <a:round/>
              <a:headEnd/>
              <a:tailEnd/>
            </a:ln>
          </p:spPr>
          <p:txBody>
            <a:bodyPr/>
            <a:lstStyle/>
            <a:p>
              <a:endParaRPr lang="en-US"/>
            </a:p>
          </p:txBody>
        </p:sp>
        <p:sp>
          <p:nvSpPr>
            <p:cNvPr id="42035" name="Freeform 18"/>
            <p:cNvSpPr>
              <a:spLocks noEditPoints="1"/>
            </p:cNvSpPr>
            <p:nvPr/>
          </p:nvSpPr>
          <p:spPr bwMode="auto">
            <a:xfrm>
              <a:off x="3144" y="1145"/>
              <a:ext cx="221" cy="239"/>
            </a:xfrm>
            <a:custGeom>
              <a:avLst/>
              <a:gdLst>
                <a:gd name="T0" fmla="*/ 0 w 784"/>
                <a:gd name="T1" fmla="*/ 8 h 848"/>
                <a:gd name="T2" fmla="*/ 1 w 784"/>
                <a:gd name="T3" fmla="*/ 6 h 848"/>
                <a:gd name="T4" fmla="*/ 3 w 784"/>
                <a:gd name="T5" fmla="*/ 3 h 848"/>
                <a:gd name="T6" fmla="*/ 4 w 784"/>
                <a:gd name="T7" fmla="*/ 2 h 848"/>
                <a:gd name="T8" fmla="*/ 7 w 784"/>
                <a:gd name="T9" fmla="*/ 0 h 848"/>
                <a:gd name="T10" fmla="*/ 9 w 784"/>
                <a:gd name="T11" fmla="*/ 0 h 848"/>
                <a:gd name="T12" fmla="*/ 12 w 784"/>
                <a:gd name="T13" fmla="*/ 1 h 848"/>
                <a:gd name="T14" fmla="*/ 14 w 784"/>
                <a:gd name="T15" fmla="*/ 2 h 848"/>
                <a:gd name="T16" fmla="*/ 16 w 784"/>
                <a:gd name="T17" fmla="*/ 4 h 848"/>
                <a:gd name="T18" fmla="*/ 17 w 784"/>
                <a:gd name="T19" fmla="*/ 6 h 848"/>
                <a:gd name="T20" fmla="*/ 17 w 784"/>
                <a:gd name="T21" fmla="*/ 10 h 848"/>
                <a:gd name="T22" fmla="*/ 17 w 784"/>
                <a:gd name="T23" fmla="*/ 12 h 848"/>
                <a:gd name="T24" fmla="*/ 16 w 784"/>
                <a:gd name="T25" fmla="*/ 15 h 848"/>
                <a:gd name="T26" fmla="*/ 15 w 784"/>
                <a:gd name="T27" fmla="*/ 16 h 848"/>
                <a:gd name="T28" fmla="*/ 12 w 784"/>
                <a:gd name="T29" fmla="*/ 18 h 848"/>
                <a:gd name="T30" fmla="*/ 10 w 784"/>
                <a:gd name="T31" fmla="*/ 19 h 848"/>
                <a:gd name="T32" fmla="*/ 7 w 784"/>
                <a:gd name="T33" fmla="*/ 19 h 848"/>
                <a:gd name="T34" fmla="*/ 5 w 784"/>
                <a:gd name="T35" fmla="*/ 18 h 848"/>
                <a:gd name="T36" fmla="*/ 3 w 784"/>
                <a:gd name="T37" fmla="*/ 16 h 848"/>
                <a:gd name="T38" fmla="*/ 1 w 784"/>
                <a:gd name="T39" fmla="*/ 15 h 848"/>
                <a:gd name="T40" fmla="*/ 0 w 784"/>
                <a:gd name="T41" fmla="*/ 12 h 848"/>
                <a:gd name="T42" fmla="*/ 1 w 784"/>
                <a:gd name="T43" fmla="*/ 11 h 848"/>
                <a:gd name="T44" fmla="*/ 1 w 784"/>
                <a:gd name="T45" fmla="*/ 13 h 848"/>
                <a:gd name="T46" fmla="*/ 3 w 784"/>
                <a:gd name="T47" fmla="*/ 16 h 848"/>
                <a:gd name="T48" fmla="*/ 4 w 784"/>
                <a:gd name="T49" fmla="*/ 17 h 848"/>
                <a:gd name="T50" fmla="*/ 7 w 784"/>
                <a:gd name="T51" fmla="*/ 19 h 848"/>
                <a:gd name="T52" fmla="*/ 9 w 784"/>
                <a:gd name="T53" fmla="*/ 19 h 848"/>
                <a:gd name="T54" fmla="*/ 12 w 784"/>
                <a:gd name="T55" fmla="*/ 18 h 848"/>
                <a:gd name="T56" fmla="*/ 14 w 784"/>
                <a:gd name="T57" fmla="*/ 17 h 848"/>
                <a:gd name="T58" fmla="*/ 16 w 784"/>
                <a:gd name="T59" fmla="*/ 15 h 848"/>
                <a:gd name="T60" fmla="*/ 17 w 784"/>
                <a:gd name="T61" fmla="*/ 13 h 848"/>
                <a:gd name="T62" fmla="*/ 17 w 784"/>
                <a:gd name="T63" fmla="*/ 10 h 848"/>
                <a:gd name="T64" fmla="*/ 17 w 784"/>
                <a:gd name="T65" fmla="*/ 8 h 848"/>
                <a:gd name="T66" fmla="*/ 16 w 784"/>
                <a:gd name="T67" fmla="*/ 5 h 848"/>
                <a:gd name="T68" fmla="*/ 15 w 784"/>
                <a:gd name="T69" fmla="*/ 3 h 848"/>
                <a:gd name="T70" fmla="*/ 12 w 784"/>
                <a:gd name="T71" fmla="*/ 1 h 848"/>
                <a:gd name="T72" fmla="*/ 10 w 784"/>
                <a:gd name="T73" fmla="*/ 1 h 848"/>
                <a:gd name="T74" fmla="*/ 7 w 784"/>
                <a:gd name="T75" fmla="*/ 1 h 848"/>
                <a:gd name="T76" fmla="*/ 6 w 784"/>
                <a:gd name="T77" fmla="*/ 1 h 848"/>
                <a:gd name="T78" fmla="*/ 3 w 784"/>
                <a:gd name="T79" fmla="*/ 3 h 848"/>
                <a:gd name="T80" fmla="*/ 2 w 784"/>
                <a:gd name="T81" fmla="*/ 5 h 848"/>
                <a:gd name="T82" fmla="*/ 1 w 784"/>
                <a:gd name="T83" fmla="*/ 8 h 848"/>
                <a:gd name="T84" fmla="*/ 0 w 784"/>
                <a:gd name="T85" fmla="*/ 10 h 8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84"/>
                <a:gd name="T130" fmla="*/ 0 h 848"/>
                <a:gd name="T131" fmla="*/ 784 w 784"/>
                <a:gd name="T132" fmla="*/ 848 h 84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84" h="848">
                  <a:moveTo>
                    <a:pt x="0" y="425"/>
                  </a:moveTo>
                  <a:cubicBezTo>
                    <a:pt x="0" y="425"/>
                    <a:pt x="0" y="424"/>
                    <a:pt x="0" y="424"/>
                  </a:cubicBezTo>
                  <a:lnTo>
                    <a:pt x="8" y="340"/>
                  </a:lnTo>
                  <a:cubicBezTo>
                    <a:pt x="9" y="339"/>
                    <a:pt x="9" y="339"/>
                    <a:pt x="9" y="338"/>
                  </a:cubicBezTo>
                  <a:lnTo>
                    <a:pt x="31" y="260"/>
                  </a:lnTo>
                  <a:cubicBezTo>
                    <a:pt x="31" y="260"/>
                    <a:pt x="31" y="259"/>
                    <a:pt x="31" y="259"/>
                  </a:cubicBezTo>
                  <a:lnTo>
                    <a:pt x="67" y="189"/>
                  </a:lnTo>
                  <a:cubicBezTo>
                    <a:pt x="68" y="188"/>
                    <a:pt x="68" y="188"/>
                    <a:pt x="68" y="188"/>
                  </a:cubicBezTo>
                  <a:lnTo>
                    <a:pt x="115" y="126"/>
                  </a:lnTo>
                  <a:cubicBezTo>
                    <a:pt x="115" y="125"/>
                    <a:pt x="116" y="125"/>
                    <a:pt x="116" y="125"/>
                  </a:cubicBezTo>
                  <a:lnTo>
                    <a:pt x="172" y="74"/>
                  </a:lnTo>
                  <a:cubicBezTo>
                    <a:pt x="172" y="73"/>
                    <a:pt x="173" y="73"/>
                    <a:pt x="173" y="73"/>
                  </a:cubicBezTo>
                  <a:lnTo>
                    <a:pt x="239" y="35"/>
                  </a:lnTo>
                  <a:cubicBezTo>
                    <a:pt x="240" y="34"/>
                    <a:pt x="240" y="34"/>
                    <a:pt x="241" y="34"/>
                  </a:cubicBezTo>
                  <a:lnTo>
                    <a:pt x="313" y="9"/>
                  </a:lnTo>
                  <a:cubicBezTo>
                    <a:pt x="313" y="9"/>
                    <a:pt x="314" y="9"/>
                    <a:pt x="315" y="9"/>
                  </a:cubicBezTo>
                  <a:lnTo>
                    <a:pt x="392" y="1"/>
                  </a:lnTo>
                  <a:cubicBezTo>
                    <a:pt x="392" y="0"/>
                    <a:pt x="393" y="0"/>
                    <a:pt x="393" y="1"/>
                  </a:cubicBezTo>
                  <a:lnTo>
                    <a:pt x="471" y="9"/>
                  </a:lnTo>
                  <a:cubicBezTo>
                    <a:pt x="472" y="9"/>
                    <a:pt x="473" y="9"/>
                    <a:pt x="473" y="9"/>
                  </a:cubicBezTo>
                  <a:lnTo>
                    <a:pt x="545" y="34"/>
                  </a:lnTo>
                  <a:cubicBezTo>
                    <a:pt x="546" y="34"/>
                    <a:pt x="546" y="34"/>
                    <a:pt x="547" y="35"/>
                  </a:cubicBezTo>
                  <a:lnTo>
                    <a:pt x="612" y="73"/>
                  </a:lnTo>
                  <a:cubicBezTo>
                    <a:pt x="612" y="73"/>
                    <a:pt x="612" y="73"/>
                    <a:pt x="613" y="74"/>
                  </a:cubicBezTo>
                  <a:lnTo>
                    <a:pt x="670" y="125"/>
                  </a:lnTo>
                  <a:cubicBezTo>
                    <a:pt x="670" y="125"/>
                    <a:pt x="671" y="125"/>
                    <a:pt x="671" y="126"/>
                  </a:cubicBezTo>
                  <a:lnTo>
                    <a:pt x="718" y="188"/>
                  </a:lnTo>
                  <a:cubicBezTo>
                    <a:pt x="718" y="188"/>
                    <a:pt x="718" y="188"/>
                    <a:pt x="719" y="189"/>
                  </a:cubicBezTo>
                  <a:lnTo>
                    <a:pt x="754" y="259"/>
                  </a:lnTo>
                  <a:cubicBezTo>
                    <a:pt x="754" y="259"/>
                    <a:pt x="754" y="260"/>
                    <a:pt x="754" y="260"/>
                  </a:cubicBezTo>
                  <a:lnTo>
                    <a:pt x="776" y="338"/>
                  </a:lnTo>
                  <a:cubicBezTo>
                    <a:pt x="776" y="339"/>
                    <a:pt x="776" y="339"/>
                    <a:pt x="776" y="340"/>
                  </a:cubicBezTo>
                  <a:lnTo>
                    <a:pt x="784" y="424"/>
                  </a:lnTo>
                  <a:cubicBezTo>
                    <a:pt x="784" y="424"/>
                    <a:pt x="784" y="425"/>
                    <a:pt x="784" y="425"/>
                  </a:cubicBezTo>
                  <a:lnTo>
                    <a:pt x="776" y="509"/>
                  </a:lnTo>
                  <a:cubicBezTo>
                    <a:pt x="776" y="510"/>
                    <a:pt x="776" y="510"/>
                    <a:pt x="776" y="511"/>
                  </a:cubicBezTo>
                  <a:lnTo>
                    <a:pt x="754" y="589"/>
                  </a:lnTo>
                  <a:cubicBezTo>
                    <a:pt x="754" y="589"/>
                    <a:pt x="754" y="590"/>
                    <a:pt x="754" y="590"/>
                  </a:cubicBezTo>
                  <a:lnTo>
                    <a:pt x="719" y="661"/>
                  </a:lnTo>
                  <a:cubicBezTo>
                    <a:pt x="718" y="661"/>
                    <a:pt x="718" y="662"/>
                    <a:pt x="718" y="662"/>
                  </a:cubicBezTo>
                  <a:lnTo>
                    <a:pt x="671" y="723"/>
                  </a:lnTo>
                  <a:cubicBezTo>
                    <a:pt x="671" y="724"/>
                    <a:pt x="670" y="724"/>
                    <a:pt x="670" y="724"/>
                  </a:cubicBezTo>
                  <a:lnTo>
                    <a:pt x="613" y="775"/>
                  </a:lnTo>
                  <a:cubicBezTo>
                    <a:pt x="612" y="776"/>
                    <a:pt x="612" y="776"/>
                    <a:pt x="612" y="776"/>
                  </a:cubicBezTo>
                  <a:lnTo>
                    <a:pt x="547" y="814"/>
                  </a:lnTo>
                  <a:cubicBezTo>
                    <a:pt x="546" y="815"/>
                    <a:pt x="546" y="815"/>
                    <a:pt x="545" y="815"/>
                  </a:cubicBezTo>
                  <a:lnTo>
                    <a:pt x="473" y="840"/>
                  </a:lnTo>
                  <a:cubicBezTo>
                    <a:pt x="473" y="840"/>
                    <a:pt x="472" y="840"/>
                    <a:pt x="471" y="840"/>
                  </a:cubicBezTo>
                  <a:lnTo>
                    <a:pt x="393" y="848"/>
                  </a:lnTo>
                  <a:cubicBezTo>
                    <a:pt x="393" y="848"/>
                    <a:pt x="392" y="848"/>
                    <a:pt x="392" y="848"/>
                  </a:cubicBezTo>
                  <a:lnTo>
                    <a:pt x="315" y="840"/>
                  </a:lnTo>
                  <a:cubicBezTo>
                    <a:pt x="314" y="840"/>
                    <a:pt x="313" y="840"/>
                    <a:pt x="313" y="840"/>
                  </a:cubicBezTo>
                  <a:lnTo>
                    <a:pt x="241" y="815"/>
                  </a:lnTo>
                  <a:cubicBezTo>
                    <a:pt x="240" y="815"/>
                    <a:pt x="240" y="815"/>
                    <a:pt x="239" y="814"/>
                  </a:cubicBezTo>
                  <a:lnTo>
                    <a:pt x="173" y="776"/>
                  </a:lnTo>
                  <a:cubicBezTo>
                    <a:pt x="173" y="776"/>
                    <a:pt x="172" y="776"/>
                    <a:pt x="172" y="775"/>
                  </a:cubicBezTo>
                  <a:lnTo>
                    <a:pt x="116" y="724"/>
                  </a:lnTo>
                  <a:cubicBezTo>
                    <a:pt x="116" y="724"/>
                    <a:pt x="115" y="724"/>
                    <a:pt x="115" y="723"/>
                  </a:cubicBezTo>
                  <a:lnTo>
                    <a:pt x="68" y="662"/>
                  </a:lnTo>
                  <a:cubicBezTo>
                    <a:pt x="68" y="662"/>
                    <a:pt x="68" y="662"/>
                    <a:pt x="67" y="661"/>
                  </a:cubicBezTo>
                  <a:lnTo>
                    <a:pt x="31" y="590"/>
                  </a:lnTo>
                  <a:cubicBezTo>
                    <a:pt x="31" y="590"/>
                    <a:pt x="31" y="589"/>
                    <a:pt x="31" y="589"/>
                  </a:cubicBezTo>
                  <a:lnTo>
                    <a:pt x="9" y="511"/>
                  </a:lnTo>
                  <a:cubicBezTo>
                    <a:pt x="9" y="510"/>
                    <a:pt x="9" y="510"/>
                    <a:pt x="8" y="509"/>
                  </a:cubicBezTo>
                  <a:lnTo>
                    <a:pt x="0" y="425"/>
                  </a:lnTo>
                  <a:close/>
                  <a:moveTo>
                    <a:pt x="24" y="508"/>
                  </a:moveTo>
                  <a:lnTo>
                    <a:pt x="24" y="506"/>
                  </a:lnTo>
                  <a:lnTo>
                    <a:pt x="46" y="584"/>
                  </a:lnTo>
                  <a:lnTo>
                    <a:pt x="46" y="583"/>
                  </a:lnTo>
                  <a:lnTo>
                    <a:pt x="82" y="654"/>
                  </a:lnTo>
                  <a:lnTo>
                    <a:pt x="81" y="653"/>
                  </a:lnTo>
                  <a:lnTo>
                    <a:pt x="128" y="714"/>
                  </a:lnTo>
                  <a:lnTo>
                    <a:pt x="127" y="713"/>
                  </a:lnTo>
                  <a:lnTo>
                    <a:pt x="183" y="764"/>
                  </a:lnTo>
                  <a:lnTo>
                    <a:pt x="181" y="763"/>
                  </a:lnTo>
                  <a:lnTo>
                    <a:pt x="247" y="801"/>
                  </a:lnTo>
                  <a:lnTo>
                    <a:pt x="246" y="800"/>
                  </a:lnTo>
                  <a:lnTo>
                    <a:pt x="318" y="825"/>
                  </a:lnTo>
                  <a:lnTo>
                    <a:pt x="316" y="825"/>
                  </a:lnTo>
                  <a:lnTo>
                    <a:pt x="393" y="833"/>
                  </a:lnTo>
                  <a:lnTo>
                    <a:pt x="392" y="833"/>
                  </a:lnTo>
                  <a:lnTo>
                    <a:pt x="470" y="825"/>
                  </a:lnTo>
                  <a:lnTo>
                    <a:pt x="468" y="825"/>
                  </a:lnTo>
                  <a:lnTo>
                    <a:pt x="540" y="800"/>
                  </a:lnTo>
                  <a:lnTo>
                    <a:pt x="538" y="801"/>
                  </a:lnTo>
                  <a:lnTo>
                    <a:pt x="603" y="763"/>
                  </a:lnTo>
                  <a:lnTo>
                    <a:pt x="602" y="763"/>
                  </a:lnTo>
                  <a:lnTo>
                    <a:pt x="659" y="712"/>
                  </a:lnTo>
                  <a:lnTo>
                    <a:pt x="658" y="714"/>
                  </a:lnTo>
                  <a:lnTo>
                    <a:pt x="705" y="653"/>
                  </a:lnTo>
                  <a:lnTo>
                    <a:pt x="704" y="654"/>
                  </a:lnTo>
                  <a:lnTo>
                    <a:pt x="739" y="583"/>
                  </a:lnTo>
                  <a:lnTo>
                    <a:pt x="739" y="584"/>
                  </a:lnTo>
                  <a:lnTo>
                    <a:pt x="761" y="506"/>
                  </a:lnTo>
                  <a:lnTo>
                    <a:pt x="760" y="508"/>
                  </a:lnTo>
                  <a:lnTo>
                    <a:pt x="768" y="424"/>
                  </a:lnTo>
                  <a:lnTo>
                    <a:pt x="768" y="425"/>
                  </a:lnTo>
                  <a:lnTo>
                    <a:pt x="760" y="341"/>
                  </a:lnTo>
                  <a:lnTo>
                    <a:pt x="761" y="343"/>
                  </a:lnTo>
                  <a:lnTo>
                    <a:pt x="739" y="265"/>
                  </a:lnTo>
                  <a:lnTo>
                    <a:pt x="739" y="266"/>
                  </a:lnTo>
                  <a:lnTo>
                    <a:pt x="704" y="196"/>
                  </a:lnTo>
                  <a:lnTo>
                    <a:pt x="705" y="197"/>
                  </a:lnTo>
                  <a:lnTo>
                    <a:pt x="658" y="135"/>
                  </a:lnTo>
                  <a:lnTo>
                    <a:pt x="659" y="136"/>
                  </a:lnTo>
                  <a:lnTo>
                    <a:pt x="602" y="85"/>
                  </a:lnTo>
                  <a:lnTo>
                    <a:pt x="603" y="86"/>
                  </a:lnTo>
                  <a:lnTo>
                    <a:pt x="538" y="48"/>
                  </a:lnTo>
                  <a:lnTo>
                    <a:pt x="540" y="49"/>
                  </a:lnTo>
                  <a:lnTo>
                    <a:pt x="468" y="24"/>
                  </a:lnTo>
                  <a:lnTo>
                    <a:pt x="470" y="24"/>
                  </a:lnTo>
                  <a:lnTo>
                    <a:pt x="392" y="16"/>
                  </a:lnTo>
                  <a:lnTo>
                    <a:pt x="393" y="16"/>
                  </a:lnTo>
                  <a:lnTo>
                    <a:pt x="316" y="24"/>
                  </a:lnTo>
                  <a:lnTo>
                    <a:pt x="318" y="24"/>
                  </a:lnTo>
                  <a:lnTo>
                    <a:pt x="246" y="49"/>
                  </a:lnTo>
                  <a:lnTo>
                    <a:pt x="247" y="48"/>
                  </a:lnTo>
                  <a:lnTo>
                    <a:pt x="181" y="86"/>
                  </a:lnTo>
                  <a:lnTo>
                    <a:pt x="183" y="85"/>
                  </a:lnTo>
                  <a:lnTo>
                    <a:pt x="127" y="136"/>
                  </a:lnTo>
                  <a:lnTo>
                    <a:pt x="128" y="135"/>
                  </a:lnTo>
                  <a:lnTo>
                    <a:pt x="81" y="197"/>
                  </a:lnTo>
                  <a:lnTo>
                    <a:pt x="82" y="196"/>
                  </a:lnTo>
                  <a:lnTo>
                    <a:pt x="46" y="266"/>
                  </a:lnTo>
                  <a:lnTo>
                    <a:pt x="46" y="265"/>
                  </a:lnTo>
                  <a:lnTo>
                    <a:pt x="24" y="343"/>
                  </a:lnTo>
                  <a:lnTo>
                    <a:pt x="24" y="341"/>
                  </a:lnTo>
                  <a:lnTo>
                    <a:pt x="16" y="425"/>
                  </a:lnTo>
                  <a:lnTo>
                    <a:pt x="16" y="424"/>
                  </a:lnTo>
                  <a:lnTo>
                    <a:pt x="24" y="508"/>
                  </a:lnTo>
                  <a:close/>
                </a:path>
              </a:pathLst>
            </a:custGeom>
            <a:solidFill>
              <a:srgbClr val="000000"/>
            </a:solidFill>
            <a:ln w="0">
              <a:solidFill>
                <a:srgbClr val="000000"/>
              </a:solidFill>
              <a:round/>
              <a:headEnd/>
              <a:tailEnd/>
            </a:ln>
          </p:spPr>
          <p:txBody>
            <a:bodyPr/>
            <a:lstStyle/>
            <a:p>
              <a:endParaRPr lang="en-US"/>
            </a:p>
          </p:txBody>
        </p:sp>
        <p:sp>
          <p:nvSpPr>
            <p:cNvPr id="42036" name="Freeform 19"/>
            <p:cNvSpPr>
              <a:spLocks/>
            </p:cNvSpPr>
            <p:nvPr/>
          </p:nvSpPr>
          <p:spPr bwMode="auto">
            <a:xfrm>
              <a:off x="3146" y="1148"/>
              <a:ext cx="216" cy="234"/>
            </a:xfrm>
            <a:custGeom>
              <a:avLst/>
              <a:gdLst>
                <a:gd name="T0" fmla="*/ 0 w 768"/>
                <a:gd name="T1" fmla="*/ 9 h 832"/>
                <a:gd name="T2" fmla="*/ 8 w 768"/>
                <a:gd name="T3" fmla="*/ 0 h 832"/>
                <a:gd name="T4" fmla="*/ 8 w 768"/>
                <a:gd name="T5" fmla="*/ 0 h 832"/>
                <a:gd name="T6" fmla="*/ 8 w 768"/>
                <a:gd name="T7" fmla="*/ 0 h 832"/>
                <a:gd name="T8" fmla="*/ 17 w 768"/>
                <a:gd name="T9" fmla="*/ 9 h 832"/>
                <a:gd name="T10" fmla="*/ 17 w 768"/>
                <a:gd name="T11" fmla="*/ 9 h 832"/>
                <a:gd name="T12" fmla="*/ 17 w 768"/>
                <a:gd name="T13" fmla="*/ 9 h 832"/>
                <a:gd name="T14" fmla="*/ 8 w 768"/>
                <a:gd name="T15" fmla="*/ 19 h 832"/>
                <a:gd name="T16" fmla="*/ 8 w 768"/>
                <a:gd name="T17" fmla="*/ 19 h 832"/>
                <a:gd name="T18" fmla="*/ 8 w 768"/>
                <a:gd name="T19" fmla="*/ 19 h 832"/>
                <a:gd name="T20" fmla="*/ 0 w 768"/>
                <a:gd name="T21" fmla="*/ 9 h 832"/>
                <a:gd name="T22" fmla="*/ 0 w 768"/>
                <a:gd name="T23" fmla="*/ 9 h 8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68"/>
                <a:gd name="T37" fmla="*/ 0 h 832"/>
                <a:gd name="T38" fmla="*/ 768 w 768"/>
                <a:gd name="T39" fmla="*/ 832 h 8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68" h="832">
                  <a:moveTo>
                    <a:pt x="0" y="416"/>
                  </a:moveTo>
                  <a:cubicBezTo>
                    <a:pt x="0" y="187"/>
                    <a:pt x="172" y="0"/>
                    <a:pt x="384" y="0"/>
                  </a:cubicBezTo>
                  <a:cubicBezTo>
                    <a:pt x="384" y="0"/>
                    <a:pt x="384" y="0"/>
                    <a:pt x="384" y="0"/>
                  </a:cubicBezTo>
                  <a:cubicBezTo>
                    <a:pt x="597" y="0"/>
                    <a:pt x="768" y="187"/>
                    <a:pt x="768" y="416"/>
                  </a:cubicBezTo>
                  <a:cubicBezTo>
                    <a:pt x="768" y="416"/>
                    <a:pt x="768" y="416"/>
                    <a:pt x="768" y="416"/>
                  </a:cubicBezTo>
                  <a:cubicBezTo>
                    <a:pt x="768" y="646"/>
                    <a:pt x="597" y="832"/>
                    <a:pt x="384" y="832"/>
                  </a:cubicBezTo>
                  <a:cubicBezTo>
                    <a:pt x="384" y="832"/>
                    <a:pt x="384" y="832"/>
                    <a:pt x="384" y="832"/>
                  </a:cubicBezTo>
                  <a:cubicBezTo>
                    <a:pt x="172" y="832"/>
                    <a:pt x="0" y="646"/>
                    <a:pt x="0" y="416"/>
                  </a:cubicBezTo>
                  <a:cubicBezTo>
                    <a:pt x="0" y="416"/>
                    <a:pt x="0" y="416"/>
                    <a:pt x="0" y="416"/>
                  </a:cubicBezTo>
                  <a:close/>
                </a:path>
              </a:pathLst>
            </a:custGeom>
            <a:solidFill>
              <a:srgbClr val="FF0000"/>
            </a:solidFill>
            <a:ln w="0">
              <a:solidFill>
                <a:srgbClr val="000000"/>
              </a:solidFill>
              <a:round/>
              <a:headEnd/>
              <a:tailEnd/>
            </a:ln>
          </p:spPr>
          <p:txBody>
            <a:bodyPr/>
            <a:lstStyle/>
            <a:p>
              <a:endParaRPr lang="en-US"/>
            </a:p>
          </p:txBody>
        </p:sp>
        <p:sp>
          <p:nvSpPr>
            <p:cNvPr id="42037" name="Freeform 22"/>
            <p:cNvSpPr>
              <a:spLocks noEditPoints="1"/>
            </p:cNvSpPr>
            <p:nvPr/>
          </p:nvSpPr>
          <p:spPr bwMode="auto">
            <a:xfrm>
              <a:off x="750" y="3666"/>
              <a:ext cx="324" cy="54"/>
            </a:xfrm>
            <a:custGeom>
              <a:avLst/>
              <a:gdLst>
                <a:gd name="T0" fmla="*/ 0 w 324"/>
                <a:gd name="T1" fmla="*/ 18 h 54"/>
                <a:gd name="T2" fmla="*/ 279 w 324"/>
                <a:gd name="T3" fmla="*/ 18 h 54"/>
                <a:gd name="T4" fmla="*/ 279 w 324"/>
                <a:gd name="T5" fmla="*/ 36 h 54"/>
                <a:gd name="T6" fmla="*/ 0 w 324"/>
                <a:gd name="T7" fmla="*/ 36 h 54"/>
                <a:gd name="T8" fmla="*/ 0 w 324"/>
                <a:gd name="T9" fmla="*/ 18 h 54"/>
                <a:gd name="T10" fmla="*/ 270 w 324"/>
                <a:gd name="T11" fmla="*/ 0 h 54"/>
                <a:gd name="T12" fmla="*/ 324 w 324"/>
                <a:gd name="T13" fmla="*/ 27 h 54"/>
                <a:gd name="T14" fmla="*/ 270 w 324"/>
                <a:gd name="T15" fmla="*/ 54 h 54"/>
                <a:gd name="T16" fmla="*/ 270 w 324"/>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4"/>
                <a:gd name="T28" fmla="*/ 0 h 54"/>
                <a:gd name="T29" fmla="*/ 324 w 324"/>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4" h="54">
                  <a:moveTo>
                    <a:pt x="0" y="18"/>
                  </a:moveTo>
                  <a:lnTo>
                    <a:pt x="279" y="18"/>
                  </a:lnTo>
                  <a:lnTo>
                    <a:pt x="279" y="36"/>
                  </a:lnTo>
                  <a:lnTo>
                    <a:pt x="0" y="36"/>
                  </a:lnTo>
                  <a:lnTo>
                    <a:pt x="0" y="18"/>
                  </a:lnTo>
                  <a:close/>
                  <a:moveTo>
                    <a:pt x="270" y="0"/>
                  </a:moveTo>
                  <a:lnTo>
                    <a:pt x="324" y="27"/>
                  </a:lnTo>
                  <a:lnTo>
                    <a:pt x="270" y="54"/>
                  </a:lnTo>
                  <a:lnTo>
                    <a:pt x="270" y="0"/>
                  </a:lnTo>
                  <a:close/>
                </a:path>
              </a:pathLst>
            </a:custGeom>
            <a:solidFill>
              <a:srgbClr val="00CCFF"/>
            </a:solidFill>
            <a:ln w="9525">
              <a:noFill/>
              <a:miter lim="800000"/>
              <a:headEnd/>
              <a:tailEnd/>
            </a:ln>
          </p:spPr>
          <p:txBody>
            <a:bodyPr/>
            <a:lstStyle/>
            <a:p>
              <a:endParaRPr lang="en-US"/>
            </a:p>
          </p:txBody>
        </p:sp>
        <p:sp>
          <p:nvSpPr>
            <p:cNvPr id="42038" name="Freeform 23"/>
            <p:cNvSpPr>
              <a:spLocks noEditPoints="1"/>
            </p:cNvSpPr>
            <p:nvPr/>
          </p:nvSpPr>
          <p:spPr bwMode="auto">
            <a:xfrm>
              <a:off x="745" y="3665"/>
              <a:ext cx="327" cy="58"/>
            </a:xfrm>
            <a:custGeom>
              <a:avLst/>
              <a:gdLst>
                <a:gd name="T0" fmla="*/ 0 w 327"/>
                <a:gd name="T1" fmla="*/ 20 h 58"/>
                <a:gd name="T2" fmla="*/ 2 w 327"/>
                <a:gd name="T3" fmla="*/ 18 h 58"/>
                <a:gd name="T4" fmla="*/ 281 w 327"/>
                <a:gd name="T5" fmla="*/ 18 h 58"/>
                <a:gd name="T6" fmla="*/ 283 w 327"/>
                <a:gd name="T7" fmla="*/ 20 h 58"/>
                <a:gd name="T8" fmla="*/ 283 w 327"/>
                <a:gd name="T9" fmla="*/ 38 h 58"/>
                <a:gd name="T10" fmla="*/ 281 w 327"/>
                <a:gd name="T11" fmla="*/ 40 h 58"/>
                <a:gd name="T12" fmla="*/ 2 w 327"/>
                <a:gd name="T13" fmla="*/ 40 h 58"/>
                <a:gd name="T14" fmla="*/ 0 w 327"/>
                <a:gd name="T15" fmla="*/ 38 h 58"/>
                <a:gd name="T16" fmla="*/ 0 w 327"/>
                <a:gd name="T17" fmla="*/ 20 h 58"/>
                <a:gd name="T18" fmla="*/ 4 w 327"/>
                <a:gd name="T19" fmla="*/ 38 h 58"/>
                <a:gd name="T20" fmla="*/ 2 w 327"/>
                <a:gd name="T21" fmla="*/ 36 h 58"/>
                <a:gd name="T22" fmla="*/ 281 w 327"/>
                <a:gd name="T23" fmla="*/ 36 h 58"/>
                <a:gd name="T24" fmla="*/ 279 w 327"/>
                <a:gd name="T25" fmla="*/ 38 h 58"/>
                <a:gd name="T26" fmla="*/ 279 w 327"/>
                <a:gd name="T27" fmla="*/ 20 h 58"/>
                <a:gd name="T28" fmla="*/ 281 w 327"/>
                <a:gd name="T29" fmla="*/ 22 h 58"/>
                <a:gd name="T30" fmla="*/ 2 w 327"/>
                <a:gd name="T31" fmla="*/ 22 h 58"/>
                <a:gd name="T32" fmla="*/ 4 w 327"/>
                <a:gd name="T33" fmla="*/ 20 h 58"/>
                <a:gd name="T34" fmla="*/ 4 w 327"/>
                <a:gd name="T35" fmla="*/ 38 h 58"/>
                <a:gd name="T36" fmla="*/ 270 w 327"/>
                <a:gd name="T37" fmla="*/ 2 h 58"/>
                <a:gd name="T38" fmla="*/ 273 w 327"/>
                <a:gd name="T39" fmla="*/ 0 h 58"/>
                <a:gd name="T40" fmla="*/ 327 w 327"/>
                <a:gd name="T41" fmla="*/ 27 h 58"/>
                <a:gd name="T42" fmla="*/ 327 w 327"/>
                <a:gd name="T43" fmla="*/ 31 h 58"/>
                <a:gd name="T44" fmla="*/ 273 w 327"/>
                <a:gd name="T45" fmla="*/ 58 h 58"/>
                <a:gd name="T46" fmla="*/ 270 w 327"/>
                <a:gd name="T47" fmla="*/ 56 h 58"/>
                <a:gd name="T48" fmla="*/ 270 w 327"/>
                <a:gd name="T49" fmla="*/ 2 h 58"/>
                <a:gd name="T50" fmla="*/ 274 w 327"/>
                <a:gd name="T51" fmla="*/ 56 h 58"/>
                <a:gd name="T52" fmla="*/ 271 w 327"/>
                <a:gd name="T53" fmla="*/ 54 h 58"/>
                <a:gd name="T54" fmla="*/ 325 w 327"/>
                <a:gd name="T55" fmla="*/ 27 h 58"/>
                <a:gd name="T56" fmla="*/ 325 w 327"/>
                <a:gd name="T57" fmla="*/ 31 h 58"/>
                <a:gd name="T58" fmla="*/ 271 w 327"/>
                <a:gd name="T59" fmla="*/ 4 h 58"/>
                <a:gd name="T60" fmla="*/ 274 w 327"/>
                <a:gd name="T61" fmla="*/ 2 h 58"/>
                <a:gd name="T62" fmla="*/ 274 w 327"/>
                <a:gd name="T63" fmla="*/ 56 h 5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7"/>
                <a:gd name="T97" fmla="*/ 0 h 58"/>
                <a:gd name="T98" fmla="*/ 327 w 327"/>
                <a:gd name="T99" fmla="*/ 58 h 5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7" h="58">
                  <a:moveTo>
                    <a:pt x="0" y="20"/>
                  </a:moveTo>
                  <a:lnTo>
                    <a:pt x="2" y="18"/>
                  </a:lnTo>
                  <a:lnTo>
                    <a:pt x="281" y="18"/>
                  </a:lnTo>
                  <a:lnTo>
                    <a:pt x="283" y="20"/>
                  </a:lnTo>
                  <a:lnTo>
                    <a:pt x="283" y="38"/>
                  </a:lnTo>
                  <a:lnTo>
                    <a:pt x="281" y="40"/>
                  </a:lnTo>
                  <a:lnTo>
                    <a:pt x="2" y="40"/>
                  </a:lnTo>
                  <a:lnTo>
                    <a:pt x="0" y="38"/>
                  </a:lnTo>
                  <a:lnTo>
                    <a:pt x="0" y="20"/>
                  </a:lnTo>
                  <a:close/>
                  <a:moveTo>
                    <a:pt x="4" y="38"/>
                  </a:moveTo>
                  <a:lnTo>
                    <a:pt x="2" y="36"/>
                  </a:lnTo>
                  <a:lnTo>
                    <a:pt x="281" y="36"/>
                  </a:lnTo>
                  <a:lnTo>
                    <a:pt x="279" y="38"/>
                  </a:lnTo>
                  <a:lnTo>
                    <a:pt x="279" y="20"/>
                  </a:lnTo>
                  <a:lnTo>
                    <a:pt x="281" y="22"/>
                  </a:lnTo>
                  <a:lnTo>
                    <a:pt x="2" y="22"/>
                  </a:lnTo>
                  <a:lnTo>
                    <a:pt x="4" y="20"/>
                  </a:lnTo>
                  <a:lnTo>
                    <a:pt x="4" y="38"/>
                  </a:lnTo>
                  <a:close/>
                  <a:moveTo>
                    <a:pt x="270" y="2"/>
                  </a:moveTo>
                  <a:lnTo>
                    <a:pt x="273" y="0"/>
                  </a:lnTo>
                  <a:lnTo>
                    <a:pt x="327" y="27"/>
                  </a:lnTo>
                  <a:lnTo>
                    <a:pt x="327" y="31"/>
                  </a:lnTo>
                  <a:lnTo>
                    <a:pt x="273" y="58"/>
                  </a:lnTo>
                  <a:lnTo>
                    <a:pt x="270" y="56"/>
                  </a:lnTo>
                  <a:lnTo>
                    <a:pt x="270" y="2"/>
                  </a:lnTo>
                  <a:close/>
                  <a:moveTo>
                    <a:pt x="274" y="56"/>
                  </a:moveTo>
                  <a:lnTo>
                    <a:pt x="271" y="54"/>
                  </a:lnTo>
                  <a:lnTo>
                    <a:pt x="325" y="27"/>
                  </a:lnTo>
                  <a:lnTo>
                    <a:pt x="325" y="31"/>
                  </a:lnTo>
                  <a:lnTo>
                    <a:pt x="271" y="4"/>
                  </a:lnTo>
                  <a:lnTo>
                    <a:pt x="274" y="2"/>
                  </a:lnTo>
                  <a:lnTo>
                    <a:pt x="274" y="56"/>
                  </a:lnTo>
                  <a:close/>
                </a:path>
              </a:pathLst>
            </a:custGeom>
            <a:solidFill>
              <a:srgbClr val="00CCFF"/>
            </a:solidFill>
            <a:ln w="0">
              <a:solidFill>
                <a:srgbClr val="00CCFF"/>
              </a:solidFill>
              <a:round/>
              <a:headEnd/>
              <a:tailEnd/>
            </a:ln>
          </p:spPr>
          <p:txBody>
            <a:bodyPr/>
            <a:lstStyle/>
            <a:p>
              <a:endParaRPr lang="en-US"/>
            </a:p>
          </p:txBody>
        </p:sp>
        <p:sp>
          <p:nvSpPr>
            <p:cNvPr id="42039" name="Freeform 24"/>
            <p:cNvSpPr>
              <a:spLocks noEditPoints="1"/>
            </p:cNvSpPr>
            <p:nvPr/>
          </p:nvSpPr>
          <p:spPr bwMode="auto">
            <a:xfrm>
              <a:off x="734" y="3212"/>
              <a:ext cx="324" cy="54"/>
            </a:xfrm>
            <a:custGeom>
              <a:avLst/>
              <a:gdLst>
                <a:gd name="T0" fmla="*/ 0 w 324"/>
                <a:gd name="T1" fmla="*/ 18 h 54"/>
                <a:gd name="T2" fmla="*/ 279 w 324"/>
                <a:gd name="T3" fmla="*/ 18 h 54"/>
                <a:gd name="T4" fmla="*/ 279 w 324"/>
                <a:gd name="T5" fmla="*/ 36 h 54"/>
                <a:gd name="T6" fmla="*/ 0 w 324"/>
                <a:gd name="T7" fmla="*/ 36 h 54"/>
                <a:gd name="T8" fmla="*/ 0 w 324"/>
                <a:gd name="T9" fmla="*/ 18 h 54"/>
                <a:gd name="T10" fmla="*/ 270 w 324"/>
                <a:gd name="T11" fmla="*/ 0 h 54"/>
                <a:gd name="T12" fmla="*/ 324 w 324"/>
                <a:gd name="T13" fmla="*/ 27 h 54"/>
                <a:gd name="T14" fmla="*/ 270 w 324"/>
                <a:gd name="T15" fmla="*/ 54 h 54"/>
                <a:gd name="T16" fmla="*/ 270 w 324"/>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4"/>
                <a:gd name="T28" fmla="*/ 0 h 54"/>
                <a:gd name="T29" fmla="*/ 324 w 324"/>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4" h="54">
                  <a:moveTo>
                    <a:pt x="0" y="18"/>
                  </a:moveTo>
                  <a:lnTo>
                    <a:pt x="279" y="18"/>
                  </a:lnTo>
                  <a:lnTo>
                    <a:pt x="279" y="36"/>
                  </a:lnTo>
                  <a:lnTo>
                    <a:pt x="0" y="36"/>
                  </a:lnTo>
                  <a:lnTo>
                    <a:pt x="0" y="18"/>
                  </a:lnTo>
                  <a:close/>
                  <a:moveTo>
                    <a:pt x="270" y="0"/>
                  </a:moveTo>
                  <a:lnTo>
                    <a:pt x="324" y="27"/>
                  </a:lnTo>
                  <a:lnTo>
                    <a:pt x="270" y="54"/>
                  </a:lnTo>
                  <a:lnTo>
                    <a:pt x="270" y="0"/>
                  </a:lnTo>
                  <a:close/>
                </a:path>
              </a:pathLst>
            </a:custGeom>
            <a:solidFill>
              <a:srgbClr val="FF9900"/>
            </a:solidFill>
            <a:ln w="9525">
              <a:noFill/>
              <a:miter lim="800000"/>
              <a:headEnd/>
              <a:tailEnd/>
            </a:ln>
          </p:spPr>
          <p:txBody>
            <a:bodyPr/>
            <a:lstStyle/>
            <a:p>
              <a:endParaRPr lang="en-US"/>
            </a:p>
          </p:txBody>
        </p:sp>
        <p:sp>
          <p:nvSpPr>
            <p:cNvPr id="42040" name="Freeform 25"/>
            <p:cNvSpPr>
              <a:spLocks noEditPoints="1"/>
            </p:cNvSpPr>
            <p:nvPr/>
          </p:nvSpPr>
          <p:spPr bwMode="auto">
            <a:xfrm>
              <a:off x="731" y="3209"/>
              <a:ext cx="328" cy="59"/>
            </a:xfrm>
            <a:custGeom>
              <a:avLst/>
              <a:gdLst>
                <a:gd name="T0" fmla="*/ 0 w 328"/>
                <a:gd name="T1" fmla="*/ 20 h 59"/>
                <a:gd name="T2" fmla="*/ 3 w 328"/>
                <a:gd name="T3" fmla="*/ 18 h 59"/>
                <a:gd name="T4" fmla="*/ 282 w 328"/>
                <a:gd name="T5" fmla="*/ 18 h 59"/>
                <a:gd name="T6" fmla="*/ 284 w 328"/>
                <a:gd name="T7" fmla="*/ 20 h 59"/>
                <a:gd name="T8" fmla="*/ 284 w 328"/>
                <a:gd name="T9" fmla="*/ 38 h 59"/>
                <a:gd name="T10" fmla="*/ 282 w 328"/>
                <a:gd name="T11" fmla="*/ 41 h 59"/>
                <a:gd name="T12" fmla="*/ 3 w 328"/>
                <a:gd name="T13" fmla="*/ 41 h 59"/>
                <a:gd name="T14" fmla="*/ 0 w 328"/>
                <a:gd name="T15" fmla="*/ 38 h 59"/>
                <a:gd name="T16" fmla="*/ 0 w 328"/>
                <a:gd name="T17" fmla="*/ 20 h 59"/>
                <a:gd name="T18" fmla="*/ 5 w 328"/>
                <a:gd name="T19" fmla="*/ 38 h 59"/>
                <a:gd name="T20" fmla="*/ 3 w 328"/>
                <a:gd name="T21" fmla="*/ 36 h 59"/>
                <a:gd name="T22" fmla="*/ 282 w 328"/>
                <a:gd name="T23" fmla="*/ 36 h 59"/>
                <a:gd name="T24" fmla="*/ 279 w 328"/>
                <a:gd name="T25" fmla="*/ 38 h 59"/>
                <a:gd name="T26" fmla="*/ 279 w 328"/>
                <a:gd name="T27" fmla="*/ 20 h 59"/>
                <a:gd name="T28" fmla="*/ 282 w 328"/>
                <a:gd name="T29" fmla="*/ 23 h 59"/>
                <a:gd name="T30" fmla="*/ 3 w 328"/>
                <a:gd name="T31" fmla="*/ 23 h 59"/>
                <a:gd name="T32" fmla="*/ 5 w 328"/>
                <a:gd name="T33" fmla="*/ 20 h 59"/>
                <a:gd name="T34" fmla="*/ 5 w 328"/>
                <a:gd name="T35" fmla="*/ 38 h 59"/>
                <a:gd name="T36" fmla="*/ 270 w 328"/>
                <a:gd name="T37" fmla="*/ 2 h 59"/>
                <a:gd name="T38" fmla="*/ 274 w 328"/>
                <a:gd name="T39" fmla="*/ 0 h 59"/>
                <a:gd name="T40" fmla="*/ 328 w 328"/>
                <a:gd name="T41" fmla="*/ 27 h 59"/>
                <a:gd name="T42" fmla="*/ 328 w 328"/>
                <a:gd name="T43" fmla="*/ 32 h 59"/>
                <a:gd name="T44" fmla="*/ 274 w 328"/>
                <a:gd name="T45" fmla="*/ 59 h 59"/>
                <a:gd name="T46" fmla="*/ 270 w 328"/>
                <a:gd name="T47" fmla="*/ 56 h 59"/>
                <a:gd name="T48" fmla="*/ 270 w 328"/>
                <a:gd name="T49" fmla="*/ 2 h 59"/>
                <a:gd name="T50" fmla="*/ 275 w 328"/>
                <a:gd name="T51" fmla="*/ 56 h 59"/>
                <a:gd name="T52" fmla="*/ 272 w 328"/>
                <a:gd name="T53" fmla="*/ 54 h 59"/>
                <a:gd name="T54" fmla="*/ 326 w 328"/>
                <a:gd name="T55" fmla="*/ 27 h 59"/>
                <a:gd name="T56" fmla="*/ 326 w 328"/>
                <a:gd name="T57" fmla="*/ 32 h 59"/>
                <a:gd name="T58" fmla="*/ 272 w 328"/>
                <a:gd name="T59" fmla="*/ 5 h 59"/>
                <a:gd name="T60" fmla="*/ 275 w 328"/>
                <a:gd name="T61" fmla="*/ 2 h 59"/>
                <a:gd name="T62" fmla="*/ 275 w 328"/>
                <a:gd name="T63" fmla="*/ 56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8"/>
                <a:gd name="T97" fmla="*/ 0 h 59"/>
                <a:gd name="T98" fmla="*/ 328 w 328"/>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8" h="59">
                  <a:moveTo>
                    <a:pt x="0" y="20"/>
                  </a:moveTo>
                  <a:lnTo>
                    <a:pt x="3" y="18"/>
                  </a:lnTo>
                  <a:lnTo>
                    <a:pt x="282" y="18"/>
                  </a:lnTo>
                  <a:lnTo>
                    <a:pt x="284" y="20"/>
                  </a:lnTo>
                  <a:lnTo>
                    <a:pt x="284" y="38"/>
                  </a:lnTo>
                  <a:lnTo>
                    <a:pt x="282" y="41"/>
                  </a:lnTo>
                  <a:lnTo>
                    <a:pt x="3" y="41"/>
                  </a:lnTo>
                  <a:lnTo>
                    <a:pt x="0" y="38"/>
                  </a:lnTo>
                  <a:lnTo>
                    <a:pt x="0" y="20"/>
                  </a:lnTo>
                  <a:close/>
                  <a:moveTo>
                    <a:pt x="5" y="38"/>
                  </a:moveTo>
                  <a:lnTo>
                    <a:pt x="3" y="36"/>
                  </a:lnTo>
                  <a:lnTo>
                    <a:pt x="282" y="36"/>
                  </a:lnTo>
                  <a:lnTo>
                    <a:pt x="279" y="38"/>
                  </a:lnTo>
                  <a:lnTo>
                    <a:pt x="279" y="20"/>
                  </a:lnTo>
                  <a:lnTo>
                    <a:pt x="282" y="23"/>
                  </a:lnTo>
                  <a:lnTo>
                    <a:pt x="3" y="23"/>
                  </a:lnTo>
                  <a:lnTo>
                    <a:pt x="5" y="20"/>
                  </a:lnTo>
                  <a:lnTo>
                    <a:pt x="5" y="38"/>
                  </a:lnTo>
                  <a:close/>
                  <a:moveTo>
                    <a:pt x="270" y="2"/>
                  </a:moveTo>
                  <a:lnTo>
                    <a:pt x="274" y="0"/>
                  </a:lnTo>
                  <a:lnTo>
                    <a:pt x="328" y="27"/>
                  </a:lnTo>
                  <a:lnTo>
                    <a:pt x="328" y="32"/>
                  </a:lnTo>
                  <a:lnTo>
                    <a:pt x="274" y="59"/>
                  </a:lnTo>
                  <a:lnTo>
                    <a:pt x="270" y="56"/>
                  </a:lnTo>
                  <a:lnTo>
                    <a:pt x="270" y="2"/>
                  </a:lnTo>
                  <a:close/>
                  <a:moveTo>
                    <a:pt x="275" y="56"/>
                  </a:moveTo>
                  <a:lnTo>
                    <a:pt x="272" y="54"/>
                  </a:lnTo>
                  <a:lnTo>
                    <a:pt x="326" y="27"/>
                  </a:lnTo>
                  <a:lnTo>
                    <a:pt x="326" y="32"/>
                  </a:lnTo>
                  <a:lnTo>
                    <a:pt x="272" y="5"/>
                  </a:lnTo>
                  <a:lnTo>
                    <a:pt x="275" y="2"/>
                  </a:lnTo>
                  <a:lnTo>
                    <a:pt x="275" y="56"/>
                  </a:lnTo>
                  <a:close/>
                </a:path>
              </a:pathLst>
            </a:custGeom>
            <a:solidFill>
              <a:srgbClr val="FF9900"/>
            </a:solidFill>
            <a:ln w="0">
              <a:solidFill>
                <a:srgbClr val="FF9900"/>
              </a:solidFill>
              <a:round/>
              <a:headEnd/>
              <a:tailEnd/>
            </a:ln>
          </p:spPr>
          <p:txBody>
            <a:bodyPr/>
            <a:lstStyle/>
            <a:p>
              <a:endParaRPr lang="en-US"/>
            </a:p>
          </p:txBody>
        </p:sp>
        <p:sp>
          <p:nvSpPr>
            <p:cNvPr id="42041" name="Freeform 26"/>
            <p:cNvSpPr>
              <a:spLocks noEditPoints="1"/>
            </p:cNvSpPr>
            <p:nvPr/>
          </p:nvSpPr>
          <p:spPr bwMode="auto">
            <a:xfrm>
              <a:off x="734" y="3451"/>
              <a:ext cx="324" cy="54"/>
            </a:xfrm>
            <a:custGeom>
              <a:avLst/>
              <a:gdLst>
                <a:gd name="T0" fmla="*/ 0 w 324"/>
                <a:gd name="T1" fmla="*/ 18 h 54"/>
                <a:gd name="T2" fmla="*/ 279 w 324"/>
                <a:gd name="T3" fmla="*/ 18 h 54"/>
                <a:gd name="T4" fmla="*/ 279 w 324"/>
                <a:gd name="T5" fmla="*/ 36 h 54"/>
                <a:gd name="T6" fmla="*/ 0 w 324"/>
                <a:gd name="T7" fmla="*/ 36 h 54"/>
                <a:gd name="T8" fmla="*/ 0 w 324"/>
                <a:gd name="T9" fmla="*/ 18 h 54"/>
                <a:gd name="T10" fmla="*/ 270 w 324"/>
                <a:gd name="T11" fmla="*/ 0 h 54"/>
                <a:gd name="T12" fmla="*/ 324 w 324"/>
                <a:gd name="T13" fmla="*/ 27 h 54"/>
                <a:gd name="T14" fmla="*/ 270 w 324"/>
                <a:gd name="T15" fmla="*/ 54 h 54"/>
                <a:gd name="T16" fmla="*/ 270 w 324"/>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4"/>
                <a:gd name="T28" fmla="*/ 0 h 54"/>
                <a:gd name="T29" fmla="*/ 324 w 324"/>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4" h="54">
                  <a:moveTo>
                    <a:pt x="0" y="18"/>
                  </a:moveTo>
                  <a:lnTo>
                    <a:pt x="279" y="18"/>
                  </a:lnTo>
                  <a:lnTo>
                    <a:pt x="279" y="36"/>
                  </a:lnTo>
                  <a:lnTo>
                    <a:pt x="0" y="36"/>
                  </a:lnTo>
                  <a:lnTo>
                    <a:pt x="0" y="18"/>
                  </a:lnTo>
                  <a:close/>
                  <a:moveTo>
                    <a:pt x="270" y="0"/>
                  </a:moveTo>
                  <a:lnTo>
                    <a:pt x="324" y="27"/>
                  </a:lnTo>
                  <a:lnTo>
                    <a:pt x="270" y="54"/>
                  </a:lnTo>
                  <a:lnTo>
                    <a:pt x="270" y="0"/>
                  </a:lnTo>
                  <a:close/>
                </a:path>
              </a:pathLst>
            </a:custGeom>
            <a:solidFill>
              <a:srgbClr val="002060"/>
            </a:solidFill>
            <a:ln w="9525">
              <a:noFill/>
              <a:miter lim="800000"/>
              <a:headEnd/>
              <a:tailEnd/>
            </a:ln>
          </p:spPr>
          <p:txBody>
            <a:bodyPr/>
            <a:lstStyle/>
            <a:p>
              <a:endParaRPr lang="en-US"/>
            </a:p>
          </p:txBody>
        </p:sp>
        <p:sp>
          <p:nvSpPr>
            <p:cNvPr id="42042" name="Freeform 27"/>
            <p:cNvSpPr>
              <a:spLocks noEditPoints="1"/>
            </p:cNvSpPr>
            <p:nvPr/>
          </p:nvSpPr>
          <p:spPr bwMode="auto">
            <a:xfrm>
              <a:off x="727" y="3442"/>
              <a:ext cx="328" cy="59"/>
            </a:xfrm>
            <a:custGeom>
              <a:avLst/>
              <a:gdLst>
                <a:gd name="T0" fmla="*/ 0 w 328"/>
                <a:gd name="T1" fmla="*/ 20 h 59"/>
                <a:gd name="T2" fmla="*/ 3 w 328"/>
                <a:gd name="T3" fmla="*/ 18 h 59"/>
                <a:gd name="T4" fmla="*/ 282 w 328"/>
                <a:gd name="T5" fmla="*/ 18 h 59"/>
                <a:gd name="T6" fmla="*/ 284 w 328"/>
                <a:gd name="T7" fmla="*/ 20 h 59"/>
                <a:gd name="T8" fmla="*/ 284 w 328"/>
                <a:gd name="T9" fmla="*/ 38 h 59"/>
                <a:gd name="T10" fmla="*/ 282 w 328"/>
                <a:gd name="T11" fmla="*/ 41 h 59"/>
                <a:gd name="T12" fmla="*/ 3 w 328"/>
                <a:gd name="T13" fmla="*/ 41 h 59"/>
                <a:gd name="T14" fmla="*/ 0 w 328"/>
                <a:gd name="T15" fmla="*/ 38 h 59"/>
                <a:gd name="T16" fmla="*/ 0 w 328"/>
                <a:gd name="T17" fmla="*/ 20 h 59"/>
                <a:gd name="T18" fmla="*/ 5 w 328"/>
                <a:gd name="T19" fmla="*/ 38 h 59"/>
                <a:gd name="T20" fmla="*/ 3 w 328"/>
                <a:gd name="T21" fmla="*/ 36 h 59"/>
                <a:gd name="T22" fmla="*/ 282 w 328"/>
                <a:gd name="T23" fmla="*/ 36 h 59"/>
                <a:gd name="T24" fmla="*/ 279 w 328"/>
                <a:gd name="T25" fmla="*/ 38 h 59"/>
                <a:gd name="T26" fmla="*/ 279 w 328"/>
                <a:gd name="T27" fmla="*/ 20 h 59"/>
                <a:gd name="T28" fmla="*/ 282 w 328"/>
                <a:gd name="T29" fmla="*/ 23 h 59"/>
                <a:gd name="T30" fmla="*/ 3 w 328"/>
                <a:gd name="T31" fmla="*/ 23 h 59"/>
                <a:gd name="T32" fmla="*/ 5 w 328"/>
                <a:gd name="T33" fmla="*/ 20 h 59"/>
                <a:gd name="T34" fmla="*/ 5 w 328"/>
                <a:gd name="T35" fmla="*/ 38 h 59"/>
                <a:gd name="T36" fmla="*/ 270 w 328"/>
                <a:gd name="T37" fmla="*/ 2 h 59"/>
                <a:gd name="T38" fmla="*/ 274 w 328"/>
                <a:gd name="T39" fmla="*/ 0 h 59"/>
                <a:gd name="T40" fmla="*/ 328 w 328"/>
                <a:gd name="T41" fmla="*/ 27 h 59"/>
                <a:gd name="T42" fmla="*/ 328 w 328"/>
                <a:gd name="T43" fmla="*/ 32 h 59"/>
                <a:gd name="T44" fmla="*/ 274 w 328"/>
                <a:gd name="T45" fmla="*/ 59 h 59"/>
                <a:gd name="T46" fmla="*/ 270 w 328"/>
                <a:gd name="T47" fmla="*/ 56 h 59"/>
                <a:gd name="T48" fmla="*/ 270 w 328"/>
                <a:gd name="T49" fmla="*/ 2 h 59"/>
                <a:gd name="T50" fmla="*/ 275 w 328"/>
                <a:gd name="T51" fmla="*/ 56 h 59"/>
                <a:gd name="T52" fmla="*/ 272 w 328"/>
                <a:gd name="T53" fmla="*/ 54 h 59"/>
                <a:gd name="T54" fmla="*/ 326 w 328"/>
                <a:gd name="T55" fmla="*/ 27 h 59"/>
                <a:gd name="T56" fmla="*/ 326 w 328"/>
                <a:gd name="T57" fmla="*/ 32 h 59"/>
                <a:gd name="T58" fmla="*/ 272 w 328"/>
                <a:gd name="T59" fmla="*/ 5 h 59"/>
                <a:gd name="T60" fmla="*/ 275 w 328"/>
                <a:gd name="T61" fmla="*/ 2 h 59"/>
                <a:gd name="T62" fmla="*/ 275 w 328"/>
                <a:gd name="T63" fmla="*/ 56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8"/>
                <a:gd name="T97" fmla="*/ 0 h 59"/>
                <a:gd name="T98" fmla="*/ 328 w 328"/>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8" h="59">
                  <a:moveTo>
                    <a:pt x="0" y="20"/>
                  </a:moveTo>
                  <a:lnTo>
                    <a:pt x="3" y="18"/>
                  </a:lnTo>
                  <a:lnTo>
                    <a:pt x="282" y="18"/>
                  </a:lnTo>
                  <a:lnTo>
                    <a:pt x="284" y="20"/>
                  </a:lnTo>
                  <a:lnTo>
                    <a:pt x="284" y="38"/>
                  </a:lnTo>
                  <a:lnTo>
                    <a:pt x="282" y="41"/>
                  </a:lnTo>
                  <a:lnTo>
                    <a:pt x="3" y="41"/>
                  </a:lnTo>
                  <a:lnTo>
                    <a:pt x="0" y="38"/>
                  </a:lnTo>
                  <a:lnTo>
                    <a:pt x="0" y="20"/>
                  </a:lnTo>
                  <a:close/>
                  <a:moveTo>
                    <a:pt x="5" y="38"/>
                  </a:moveTo>
                  <a:lnTo>
                    <a:pt x="3" y="36"/>
                  </a:lnTo>
                  <a:lnTo>
                    <a:pt x="282" y="36"/>
                  </a:lnTo>
                  <a:lnTo>
                    <a:pt x="279" y="38"/>
                  </a:lnTo>
                  <a:lnTo>
                    <a:pt x="279" y="20"/>
                  </a:lnTo>
                  <a:lnTo>
                    <a:pt x="282" y="23"/>
                  </a:lnTo>
                  <a:lnTo>
                    <a:pt x="3" y="23"/>
                  </a:lnTo>
                  <a:lnTo>
                    <a:pt x="5" y="20"/>
                  </a:lnTo>
                  <a:lnTo>
                    <a:pt x="5" y="38"/>
                  </a:lnTo>
                  <a:close/>
                  <a:moveTo>
                    <a:pt x="270" y="2"/>
                  </a:moveTo>
                  <a:lnTo>
                    <a:pt x="274" y="0"/>
                  </a:lnTo>
                  <a:lnTo>
                    <a:pt x="328" y="27"/>
                  </a:lnTo>
                  <a:lnTo>
                    <a:pt x="328" y="32"/>
                  </a:lnTo>
                  <a:lnTo>
                    <a:pt x="274" y="59"/>
                  </a:lnTo>
                  <a:lnTo>
                    <a:pt x="270" y="56"/>
                  </a:lnTo>
                  <a:lnTo>
                    <a:pt x="270" y="2"/>
                  </a:lnTo>
                  <a:close/>
                  <a:moveTo>
                    <a:pt x="275" y="56"/>
                  </a:moveTo>
                  <a:lnTo>
                    <a:pt x="272" y="54"/>
                  </a:lnTo>
                  <a:lnTo>
                    <a:pt x="326" y="27"/>
                  </a:lnTo>
                  <a:lnTo>
                    <a:pt x="326" y="32"/>
                  </a:lnTo>
                  <a:lnTo>
                    <a:pt x="272" y="5"/>
                  </a:lnTo>
                  <a:lnTo>
                    <a:pt x="275" y="2"/>
                  </a:lnTo>
                  <a:lnTo>
                    <a:pt x="275" y="56"/>
                  </a:lnTo>
                  <a:close/>
                </a:path>
              </a:pathLst>
            </a:custGeom>
            <a:solidFill>
              <a:srgbClr val="002060"/>
            </a:solidFill>
            <a:ln w="0">
              <a:solidFill>
                <a:srgbClr val="002060"/>
              </a:solidFill>
              <a:round/>
              <a:headEnd/>
              <a:tailEnd/>
            </a:ln>
          </p:spPr>
          <p:txBody>
            <a:bodyPr/>
            <a:lstStyle/>
            <a:p>
              <a:endParaRPr lang="en-US"/>
            </a:p>
          </p:txBody>
        </p:sp>
        <p:sp>
          <p:nvSpPr>
            <p:cNvPr id="42043" name="Freeform 28"/>
            <p:cNvSpPr>
              <a:spLocks noEditPoints="1"/>
            </p:cNvSpPr>
            <p:nvPr/>
          </p:nvSpPr>
          <p:spPr bwMode="auto">
            <a:xfrm>
              <a:off x="734" y="2908"/>
              <a:ext cx="324" cy="54"/>
            </a:xfrm>
            <a:custGeom>
              <a:avLst/>
              <a:gdLst>
                <a:gd name="T0" fmla="*/ 0 w 324"/>
                <a:gd name="T1" fmla="*/ 18 h 54"/>
                <a:gd name="T2" fmla="*/ 279 w 324"/>
                <a:gd name="T3" fmla="*/ 18 h 54"/>
                <a:gd name="T4" fmla="*/ 279 w 324"/>
                <a:gd name="T5" fmla="*/ 36 h 54"/>
                <a:gd name="T6" fmla="*/ 0 w 324"/>
                <a:gd name="T7" fmla="*/ 36 h 54"/>
                <a:gd name="T8" fmla="*/ 0 w 324"/>
                <a:gd name="T9" fmla="*/ 18 h 54"/>
                <a:gd name="T10" fmla="*/ 270 w 324"/>
                <a:gd name="T11" fmla="*/ 0 h 54"/>
                <a:gd name="T12" fmla="*/ 324 w 324"/>
                <a:gd name="T13" fmla="*/ 27 h 54"/>
                <a:gd name="T14" fmla="*/ 270 w 324"/>
                <a:gd name="T15" fmla="*/ 54 h 54"/>
                <a:gd name="T16" fmla="*/ 270 w 324"/>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4"/>
                <a:gd name="T28" fmla="*/ 0 h 54"/>
                <a:gd name="T29" fmla="*/ 324 w 324"/>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4" h="54">
                  <a:moveTo>
                    <a:pt x="0" y="18"/>
                  </a:moveTo>
                  <a:lnTo>
                    <a:pt x="279" y="18"/>
                  </a:lnTo>
                  <a:lnTo>
                    <a:pt x="279" y="36"/>
                  </a:lnTo>
                  <a:lnTo>
                    <a:pt x="0" y="36"/>
                  </a:lnTo>
                  <a:lnTo>
                    <a:pt x="0" y="18"/>
                  </a:lnTo>
                  <a:close/>
                  <a:moveTo>
                    <a:pt x="270" y="0"/>
                  </a:moveTo>
                  <a:lnTo>
                    <a:pt x="324" y="27"/>
                  </a:lnTo>
                  <a:lnTo>
                    <a:pt x="270" y="54"/>
                  </a:lnTo>
                  <a:lnTo>
                    <a:pt x="270" y="0"/>
                  </a:lnTo>
                  <a:close/>
                </a:path>
              </a:pathLst>
            </a:custGeom>
            <a:solidFill>
              <a:srgbClr val="FF0000"/>
            </a:solidFill>
            <a:ln w="9525">
              <a:noFill/>
              <a:miter lim="800000"/>
              <a:headEnd/>
              <a:tailEnd/>
            </a:ln>
          </p:spPr>
          <p:txBody>
            <a:bodyPr/>
            <a:lstStyle/>
            <a:p>
              <a:endParaRPr lang="en-US"/>
            </a:p>
          </p:txBody>
        </p:sp>
        <p:sp>
          <p:nvSpPr>
            <p:cNvPr id="42044" name="Freeform 29"/>
            <p:cNvSpPr>
              <a:spLocks noEditPoints="1"/>
            </p:cNvSpPr>
            <p:nvPr/>
          </p:nvSpPr>
          <p:spPr bwMode="auto">
            <a:xfrm>
              <a:off x="732" y="2903"/>
              <a:ext cx="332" cy="61"/>
            </a:xfrm>
            <a:custGeom>
              <a:avLst/>
              <a:gdLst>
                <a:gd name="T0" fmla="*/ 0 w 332"/>
                <a:gd name="T1" fmla="*/ 19 h 61"/>
                <a:gd name="T2" fmla="*/ 284 w 332"/>
                <a:gd name="T3" fmla="*/ 19 h 61"/>
                <a:gd name="T4" fmla="*/ 284 w 332"/>
                <a:gd name="T5" fmla="*/ 42 h 61"/>
                <a:gd name="T6" fmla="*/ 0 w 332"/>
                <a:gd name="T7" fmla="*/ 42 h 61"/>
                <a:gd name="T8" fmla="*/ 0 w 332"/>
                <a:gd name="T9" fmla="*/ 19 h 61"/>
                <a:gd name="T10" fmla="*/ 5 w 332"/>
                <a:gd name="T11" fmla="*/ 40 h 61"/>
                <a:gd name="T12" fmla="*/ 3 w 332"/>
                <a:gd name="T13" fmla="*/ 37 h 61"/>
                <a:gd name="T14" fmla="*/ 282 w 332"/>
                <a:gd name="T15" fmla="*/ 37 h 61"/>
                <a:gd name="T16" fmla="*/ 279 w 332"/>
                <a:gd name="T17" fmla="*/ 40 h 61"/>
                <a:gd name="T18" fmla="*/ 279 w 332"/>
                <a:gd name="T19" fmla="*/ 22 h 61"/>
                <a:gd name="T20" fmla="*/ 282 w 332"/>
                <a:gd name="T21" fmla="*/ 24 h 61"/>
                <a:gd name="T22" fmla="*/ 3 w 332"/>
                <a:gd name="T23" fmla="*/ 24 h 61"/>
                <a:gd name="T24" fmla="*/ 5 w 332"/>
                <a:gd name="T25" fmla="*/ 22 h 61"/>
                <a:gd name="T26" fmla="*/ 5 w 332"/>
                <a:gd name="T27" fmla="*/ 40 h 61"/>
                <a:gd name="T28" fmla="*/ 270 w 332"/>
                <a:gd name="T29" fmla="*/ 0 h 61"/>
                <a:gd name="T30" fmla="*/ 332 w 332"/>
                <a:gd name="T31" fmla="*/ 31 h 61"/>
                <a:gd name="T32" fmla="*/ 270 w 332"/>
                <a:gd name="T33" fmla="*/ 61 h 61"/>
                <a:gd name="T34" fmla="*/ 270 w 332"/>
                <a:gd name="T35" fmla="*/ 0 h 61"/>
                <a:gd name="T36" fmla="*/ 275 w 332"/>
                <a:gd name="T37" fmla="*/ 58 h 61"/>
                <a:gd name="T38" fmla="*/ 272 w 332"/>
                <a:gd name="T39" fmla="*/ 56 h 61"/>
                <a:gd name="T40" fmla="*/ 326 w 332"/>
                <a:gd name="T41" fmla="*/ 29 h 61"/>
                <a:gd name="T42" fmla="*/ 326 w 332"/>
                <a:gd name="T43" fmla="*/ 33 h 61"/>
                <a:gd name="T44" fmla="*/ 272 w 332"/>
                <a:gd name="T45" fmla="*/ 6 h 61"/>
                <a:gd name="T46" fmla="*/ 275 w 332"/>
                <a:gd name="T47" fmla="*/ 4 h 61"/>
                <a:gd name="T48" fmla="*/ 275 w 332"/>
                <a:gd name="T49" fmla="*/ 58 h 6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32"/>
                <a:gd name="T76" fmla="*/ 0 h 61"/>
                <a:gd name="T77" fmla="*/ 332 w 332"/>
                <a:gd name="T78" fmla="*/ 61 h 6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32" h="61">
                  <a:moveTo>
                    <a:pt x="0" y="19"/>
                  </a:moveTo>
                  <a:lnTo>
                    <a:pt x="284" y="19"/>
                  </a:lnTo>
                  <a:lnTo>
                    <a:pt x="284" y="42"/>
                  </a:lnTo>
                  <a:lnTo>
                    <a:pt x="0" y="42"/>
                  </a:lnTo>
                  <a:lnTo>
                    <a:pt x="0" y="19"/>
                  </a:lnTo>
                  <a:close/>
                  <a:moveTo>
                    <a:pt x="5" y="40"/>
                  </a:moveTo>
                  <a:lnTo>
                    <a:pt x="3" y="37"/>
                  </a:lnTo>
                  <a:lnTo>
                    <a:pt x="282" y="37"/>
                  </a:lnTo>
                  <a:lnTo>
                    <a:pt x="279" y="40"/>
                  </a:lnTo>
                  <a:lnTo>
                    <a:pt x="279" y="22"/>
                  </a:lnTo>
                  <a:lnTo>
                    <a:pt x="282" y="24"/>
                  </a:lnTo>
                  <a:lnTo>
                    <a:pt x="3" y="24"/>
                  </a:lnTo>
                  <a:lnTo>
                    <a:pt x="5" y="22"/>
                  </a:lnTo>
                  <a:lnTo>
                    <a:pt x="5" y="40"/>
                  </a:lnTo>
                  <a:close/>
                  <a:moveTo>
                    <a:pt x="270" y="0"/>
                  </a:moveTo>
                  <a:lnTo>
                    <a:pt x="332" y="31"/>
                  </a:lnTo>
                  <a:lnTo>
                    <a:pt x="270" y="61"/>
                  </a:lnTo>
                  <a:lnTo>
                    <a:pt x="270" y="0"/>
                  </a:lnTo>
                  <a:close/>
                  <a:moveTo>
                    <a:pt x="275" y="58"/>
                  </a:moveTo>
                  <a:lnTo>
                    <a:pt x="272" y="56"/>
                  </a:lnTo>
                  <a:lnTo>
                    <a:pt x="326" y="29"/>
                  </a:lnTo>
                  <a:lnTo>
                    <a:pt x="326" y="33"/>
                  </a:lnTo>
                  <a:lnTo>
                    <a:pt x="272" y="6"/>
                  </a:lnTo>
                  <a:lnTo>
                    <a:pt x="275" y="4"/>
                  </a:lnTo>
                  <a:lnTo>
                    <a:pt x="275" y="58"/>
                  </a:lnTo>
                  <a:close/>
                </a:path>
              </a:pathLst>
            </a:custGeom>
            <a:solidFill>
              <a:srgbClr val="FF0000"/>
            </a:solidFill>
            <a:ln w="0">
              <a:solidFill>
                <a:srgbClr val="FF0000"/>
              </a:solidFill>
              <a:round/>
              <a:headEnd/>
              <a:tailEnd/>
            </a:ln>
          </p:spPr>
          <p:txBody>
            <a:bodyPr/>
            <a:lstStyle/>
            <a:p>
              <a:endParaRPr lang="en-US"/>
            </a:p>
          </p:txBody>
        </p:sp>
        <p:sp>
          <p:nvSpPr>
            <p:cNvPr id="42045" name="Freeform 30"/>
            <p:cNvSpPr>
              <a:spLocks noEditPoints="1"/>
            </p:cNvSpPr>
            <p:nvPr/>
          </p:nvSpPr>
          <p:spPr bwMode="auto">
            <a:xfrm>
              <a:off x="742" y="3331"/>
              <a:ext cx="324" cy="54"/>
            </a:xfrm>
            <a:custGeom>
              <a:avLst/>
              <a:gdLst>
                <a:gd name="T0" fmla="*/ 0 w 324"/>
                <a:gd name="T1" fmla="*/ 18 h 54"/>
                <a:gd name="T2" fmla="*/ 279 w 324"/>
                <a:gd name="T3" fmla="*/ 18 h 54"/>
                <a:gd name="T4" fmla="*/ 279 w 324"/>
                <a:gd name="T5" fmla="*/ 36 h 54"/>
                <a:gd name="T6" fmla="*/ 0 w 324"/>
                <a:gd name="T7" fmla="*/ 36 h 54"/>
                <a:gd name="T8" fmla="*/ 0 w 324"/>
                <a:gd name="T9" fmla="*/ 18 h 54"/>
                <a:gd name="T10" fmla="*/ 270 w 324"/>
                <a:gd name="T11" fmla="*/ 0 h 54"/>
                <a:gd name="T12" fmla="*/ 324 w 324"/>
                <a:gd name="T13" fmla="*/ 27 h 54"/>
                <a:gd name="T14" fmla="*/ 270 w 324"/>
                <a:gd name="T15" fmla="*/ 54 h 54"/>
                <a:gd name="T16" fmla="*/ 270 w 324"/>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4"/>
                <a:gd name="T28" fmla="*/ 0 h 54"/>
                <a:gd name="T29" fmla="*/ 324 w 324"/>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4" h="54">
                  <a:moveTo>
                    <a:pt x="0" y="18"/>
                  </a:moveTo>
                  <a:lnTo>
                    <a:pt x="279" y="18"/>
                  </a:lnTo>
                  <a:lnTo>
                    <a:pt x="279" y="36"/>
                  </a:lnTo>
                  <a:lnTo>
                    <a:pt x="0" y="36"/>
                  </a:lnTo>
                  <a:lnTo>
                    <a:pt x="0" y="18"/>
                  </a:lnTo>
                  <a:close/>
                  <a:moveTo>
                    <a:pt x="270" y="0"/>
                  </a:moveTo>
                  <a:lnTo>
                    <a:pt x="324" y="27"/>
                  </a:lnTo>
                  <a:lnTo>
                    <a:pt x="270" y="54"/>
                  </a:lnTo>
                  <a:lnTo>
                    <a:pt x="270" y="0"/>
                  </a:lnTo>
                  <a:close/>
                </a:path>
              </a:pathLst>
            </a:custGeom>
            <a:solidFill>
              <a:srgbClr val="CC00CC"/>
            </a:solidFill>
            <a:ln w="9525">
              <a:noFill/>
              <a:miter lim="800000"/>
              <a:headEnd/>
              <a:tailEnd/>
            </a:ln>
          </p:spPr>
          <p:txBody>
            <a:bodyPr/>
            <a:lstStyle/>
            <a:p>
              <a:endParaRPr lang="en-US"/>
            </a:p>
          </p:txBody>
        </p:sp>
        <p:sp>
          <p:nvSpPr>
            <p:cNvPr id="42046" name="Freeform 31"/>
            <p:cNvSpPr>
              <a:spLocks noEditPoints="1"/>
            </p:cNvSpPr>
            <p:nvPr/>
          </p:nvSpPr>
          <p:spPr bwMode="auto">
            <a:xfrm>
              <a:off x="732" y="3326"/>
              <a:ext cx="327" cy="59"/>
            </a:xfrm>
            <a:custGeom>
              <a:avLst/>
              <a:gdLst>
                <a:gd name="T0" fmla="*/ 0 w 327"/>
                <a:gd name="T1" fmla="*/ 20 h 59"/>
                <a:gd name="T2" fmla="*/ 2 w 327"/>
                <a:gd name="T3" fmla="*/ 18 h 59"/>
                <a:gd name="T4" fmla="*/ 281 w 327"/>
                <a:gd name="T5" fmla="*/ 18 h 59"/>
                <a:gd name="T6" fmla="*/ 283 w 327"/>
                <a:gd name="T7" fmla="*/ 20 h 59"/>
                <a:gd name="T8" fmla="*/ 283 w 327"/>
                <a:gd name="T9" fmla="*/ 38 h 59"/>
                <a:gd name="T10" fmla="*/ 281 w 327"/>
                <a:gd name="T11" fmla="*/ 41 h 59"/>
                <a:gd name="T12" fmla="*/ 2 w 327"/>
                <a:gd name="T13" fmla="*/ 41 h 59"/>
                <a:gd name="T14" fmla="*/ 0 w 327"/>
                <a:gd name="T15" fmla="*/ 38 h 59"/>
                <a:gd name="T16" fmla="*/ 0 w 327"/>
                <a:gd name="T17" fmla="*/ 20 h 59"/>
                <a:gd name="T18" fmla="*/ 4 w 327"/>
                <a:gd name="T19" fmla="*/ 38 h 59"/>
                <a:gd name="T20" fmla="*/ 2 w 327"/>
                <a:gd name="T21" fmla="*/ 36 h 59"/>
                <a:gd name="T22" fmla="*/ 281 w 327"/>
                <a:gd name="T23" fmla="*/ 36 h 59"/>
                <a:gd name="T24" fmla="*/ 279 w 327"/>
                <a:gd name="T25" fmla="*/ 38 h 59"/>
                <a:gd name="T26" fmla="*/ 279 w 327"/>
                <a:gd name="T27" fmla="*/ 20 h 59"/>
                <a:gd name="T28" fmla="*/ 281 w 327"/>
                <a:gd name="T29" fmla="*/ 23 h 59"/>
                <a:gd name="T30" fmla="*/ 2 w 327"/>
                <a:gd name="T31" fmla="*/ 23 h 59"/>
                <a:gd name="T32" fmla="*/ 4 w 327"/>
                <a:gd name="T33" fmla="*/ 20 h 59"/>
                <a:gd name="T34" fmla="*/ 4 w 327"/>
                <a:gd name="T35" fmla="*/ 38 h 59"/>
                <a:gd name="T36" fmla="*/ 270 w 327"/>
                <a:gd name="T37" fmla="*/ 2 h 59"/>
                <a:gd name="T38" fmla="*/ 273 w 327"/>
                <a:gd name="T39" fmla="*/ 0 h 59"/>
                <a:gd name="T40" fmla="*/ 327 w 327"/>
                <a:gd name="T41" fmla="*/ 27 h 59"/>
                <a:gd name="T42" fmla="*/ 327 w 327"/>
                <a:gd name="T43" fmla="*/ 32 h 59"/>
                <a:gd name="T44" fmla="*/ 273 w 327"/>
                <a:gd name="T45" fmla="*/ 59 h 59"/>
                <a:gd name="T46" fmla="*/ 270 w 327"/>
                <a:gd name="T47" fmla="*/ 56 h 59"/>
                <a:gd name="T48" fmla="*/ 270 w 327"/>
                <a:gd name="T49" fmla="*/ 2 h 59"/>
                <a:gd name="T50" fmla="*/ 274 w 327"/>
                <a:gd name="T51" fmla="*/ 56 h 59"/>
                <a:gd name="T52" fmla="*/ 271 w 327"/>
                <a:gd name="T53" fmla="*/ 54 h 59"/>
                <a:gd name="T54" fmla="*/ 325 w 327"/>
                <a:gd name="T55" fmla="*/ 27 h 59"/>
                <a:gd name="T56" fmla="*/ 325 w 327"/>
                <a:gd name="T57" fmla="*/ 32 h 59"/>
                <a:gd name="T58" fmla="*/ 271 w 327"/>
                <a:gd name="T59" fmla="*/ 5 h 59"/>
                <a:gd name="T60" fmla="*/ 274 w 327"/>
                <a:gd name="T61" fmla="*/ 2 h 59"/>
                <a:gd name="T62" fmla="*/ 274 w 327"/>
                <a:gd name="T63" fmla="*/ 56 h 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7"/>
                <a:gd name="T97" fmla="*/ 0 h 59"/>
                <a:gd name="T98" fmla="*/ 327 w 327"/>
                <a:gd name="T99" fmla="*/ 59 h 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7" h="59">
                  <a:moveTo>
                    <a:pt x="0" y="20"/>
                  </a:moveTo>
                  <a:lnTo>
                    <a:pt x="2" y="18"/>
                  </a:lnTo>
                  <a:lnTo>
                    <a:pt x="281" y="18"/>
                  </a:lnTo>
                  <a:lnTo>
                    <a:pt x="283" y="20"/>
                  </a:lnTo>
                  <a:lnTo>
                    <a:pt x="283" y="38"/>
                  </a:lnTo>
                  <a:lnTo>
                    <a:pt x="281" y="41"/>
                  </a:lnTo>
                  <a:lnTo>
                    <a:pt x="2" y="41"/>
                  </a:lnTo>
                  <a:lnTo>
                    <a:pt x="0" y="38"/>
                  </a:lnTo>
                  <a:lnTo>
                    <a:pt x="0" y="20"/>
                  </a:lnTo>
                  <a:close/>
                  <a:moveTo>
                    <a:pt x="4" y="38"/>
                  </a:moveTo>
                  <a:lnTo>
                    <a:pt x="2" y="36"/>
                  </a:lnTo>
                  <a:lnTo>
                    <a:pt x="281" y="36"/>
                  </a:lnTo>
                  <a:lnTo>
                    <a:pt x="279" y="38"/>
                  </a:lnTo>
                  <a:lnTo>
                    <a:pt x="279" y="20"/>
                  </a:lnTo>
                  <a:lnTo>
                    <a:pt x="281" y="23"/>
                  </a:lnTo>
                  <a:lnTo>
                    <a:pt x="2" y="23"/>
                  </a:lnTo>
                  <a:lnTo>
                    <a:pt x="4" y="20"/>
                  </a:lnTo>
                  <a:lnTo>
                    <a:pt x="4" y="38"/>
                  </a:lnTo>
                  <a:close/>
                  <a:moveTo>
                    <a:pt x="270" y="2"/>
                  </a:moveTo>
                  <a:lnTo>
                    <a:pt x="273" y="0"/>
                  </a:lnTo>
                  <a:lnTo>
                    <a:pt x="327" y="27"/>
                  </a:lnTo>
                  <a:lnTo>
                    <a:pt x="327" y="32"/>
                  </a:lnTo>
                  <a:lnTo>
                    <a:pt x="273" y="59"/>
                  </a:lnTo>
                  <a:lnTo>
                    <a:pt x="270" y="56"/>
                  </a:lnTo>
                  <a:lnTo>
                    <a:pt x="270" y="2"/>
                  </a:lnTo>
                  <a:close/>
                  <a:moveTo>
                    <a:pt x="274" y="56"/>
                  </a:moveTo>
                  <a:lnTo>
                    <a:pt x="271" y="54"/>
                  </a:lnTo>
                  <a:lnTo>
                    <a:pt x="325" y="27"/>
                  </a:lnTo>
                  <a:lnTo>
                    <a:pt x="325" y="32"/>
                  </a:lnTo>
                  <a:lnTo>
                    <a:pt x="271" y="5"/>
                  </a:lnTo>
                  <a:lnTo>
                    <a:pt x="274" y="2"/>
                  </a:lnTo>
                  <a:lnTo>
                    <a:pt x="274" y="56"/>
                  </a:lnTo>
                  <a:close/>
                </a:path>
              </a:pathLst>
            </a:custGeom>
            <a:solidFill>
              <a:srgbClr val="CC00CC"/>
            </a:solidFill>
            <a:ln w="0">
              <a:solidFill>
                <a:srgbClr val="CC00CC"/>
              </a:solidFill>
              <a:round/>
              <a:headEnd/>
              <a:tailEnd/>
            </a:ln>
          </p:spPr>
          <p:txBody>
            <a:bodyPr/>
            <a:lstStyle/>
            <a:p>
              <a:endParaRPr lang="en-US"/>
            </a:p>
          </p:txBody>
        </p:sp>
        <p:sp>
          <p:nvSpPr>
            <p:cNvPr id="42047" name="Freeform 32"/>
            <p:cNvSpPr>
              <a:spLocks noEditPoints="1"/>
            </p:cNvSpPr>
            <p:nvPr/>
          </p:nvSpPr>
          <p:spPr bwMode="auto">
            <a:xfrm>
              <a:off x="734" y="3555"/>
              <a:ext cx="324" cy="54"/>
            </a:xfrm>
            <a:custGeom>
              <a:avLst/>
              <a:gdLst>
                <a:gd name="T0" fmla="*/ 0 w 324"/>
                <a:gd name="T1" fmla="*/ 18 h 54"/>
                <a:gd name="T2" fmla="*/ 279 w 324"/>
                <a:gd name="T3" fmla="*/ 18 h 54"/>
                <a:gd name="T4" fmla="*/ 279 w 324"/>
                <a:gd name="T5" fmla="*/ 36 h 54"/>
                <a:gd name="T6" fmla="*/ 0 w 324"/>
                <a:gd name="T7" fmla="*/ 36 h 54"/>
                <a:gd name="T8" fmla="*/ 0 w 324"/>
                <a:gd name="T9" fmla="*/ 18 h 54"/>
                <a:gd name="T10" fmla="*/ 270 w 324"/>
                <a:gd name="T11" fmla="*/ 0 h 54"/>
                <a:gd name="T12" fmla="*/ 324 w 324"/>
                <a:gd name="T13" fmla="*/ 27 h 54"/>
                <a:gd name="T14" fmla="*/ 270 w 324"/>
                <a:gd name="T15" fmla="*/ 54 h 54"/>
                <a:gd name="T16" fmla="*/ 270 w 324"/>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4"/>
                <a:gd name="T28" fmla="*/ 0 h 54"/>
                <a:gd name="T29" fmla="*/ 324 w 324"/>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4" h="54">
                  <a:moveTo>
                    <a:pt x="0" y="18"/>
                  </a:moveTo>
                  <a:lnTo>
                    <a:pt x="279" y="18"/>
                  </a:lnTo>
                  <a:lnTo>
                    <a:pt x="279" y="36"/>
                  </a:lnTo>
                  <a:lnTo>
                    <a:pt x="0" y="36"/>
                  </a:lnTo>
                  <a:lnTo>
                    <a:pt x="0" y="18"/>
                  </a:lnTo>
                  <a:close/>
                  <a:moveTo>
                    <a:pt x="270" y="0"/>
                  </a:moveTo>
                  <a:lnTo>
                    <a:pt x="324" y="27"/>
                  </a:lnTo>
                  <a:lnTo>
                    <a:pt x="270" y="54"/>
                  </a:lnTo>
                  <a:lnTo>
                    <a:pt x="270" y="0"/>
                  </a:lnTo>
                  <a:close/>
                </a:path>
              </a:pathLst>
            </a:custGeom>
            <a:solidFill>
              <a:srgbClr val="FFFF00"/>
            </a:solidFill>
            <a:ln w="9525">
              <a:noFill/>
              <a:miter lim="800000"/>
              <a:headEnd/>
              <a:tailEnd/>
            </a:ln>
          </p:spPr>
          <p:txBody>
            <a:bodyPr/>
            <a:lstStyle/>
            <a:p>
              <a:endParaRPr lang="en-US"/>
            </a:p>
          </p:txBody>
        </p:sp>
        <p:sp>
          <p:nvSpPr>
            <p:cNvPr id="42048" name="Freeform 33"/>
            <p:cNvSpPr>
              <a:spLocks noEditPoints="1"/>
            </p:cNvSpPr>
            <p:nvPr/>
          </p:nvSpPr>
          <p:spPr bwMode="auto">
            <a:xfrm>
              <a:off x="731" y="3548"/>
              <a:ext cx="328" cy="58"/>
            </a:xfrm>
            <a:custGeom>
              <a:avLst/>
              <a:gdLst>
                <a:gd name="T0" fmla="*/ 0 w 328"/>
                <a:gd name="T1" fmla="*/ 20 h 58"/>
                <a:gd name="T2" fmla="*/ 3 w 328"/>
                <a:gd name="T3" fmla="*/ 18 h 58"/>
                <a:gd name="T4" fmla="*/ 282 w 328"/>
                <a:gd name="T5" fmla="*/ 18 h 58"/>
                <a:gd name="T6" fmla="*/ 284 w 328"/>
                <a:gd name="T7" fmla="*/ 20 h 58"/>
                <a:gd name="T8" fmla="*/ 284 w 328"/>
                <a:gd name="T9" fmla="*/ 38 h 58"/>
                <a:gd name="T10" fmla="*/ 282 w 328"/>
                <a:gd name="T11" fmla="*/ 40 h 58"/>
                <a:gd name="T12" fmla="*/ 3 w 328"/>
                <a:gd name="T13" fmla="*/ 40 h 58"/>
                <a:gd name="T14" fmla="*/ 0 w 328"/>
                <a:gd name="T15" fmla="*/ 38 h 58"/>
                <a:gd name="T16" fmla="*/ 0 w 328"/>
                <a:gd name="T17" fmla="*/ 20 h 58"/>
                <a:gd name="T18" fmla="*/ 5 w 328"/>
                <a:gd name="T19" fmla="*/ 38 h 58"/>
                <a:gd name="T20" fmla="*/ 3 w 328"/>
                <a:gd name="T21" fmla="*/ 36 h 58"/>
                <a:gd name="T22" fmla="*/ 282 w 328"/>
                <a:gd name="T23" fmla="*/ 36 h 58"/>
                <a:gd name="T24" fmla="*/ 279 w 328"/>
                <a:gd name="T25" fmla="*/ 38 h 58"/>
                <a:gd name="T26" fmla="*/ 279 w 328"/>
                <a:gd name="T27" fmla="*/ 20 h 58"/>
                <a:gd name="T28" fmla="*/ 282 w 328"/>
                <a:gd name="T29" fmla="*/ 22 h 58"/>
                <a:gd name="T30" fmla="*/ 3 w 328"/>
                <a:gd name="T31" fmla="*/ 22 h 58"/>
                <a:gd name="T32" fmla="*/ 5 w 328"/>
                <a:gd name="T33" fmla="*/ 20 h 58"/>
                <a:gd name="T34" fmla="*/ 5 w 328"/>
                <a:gd name="T35" fmla="*/ 38 h 58"/>
                <a:gd name="T36" fmla="*/ 270 w 328"/>
                <a:gd name="T37" fmla="*/ 2 h 58"/>
                <a:gd name="T38" fmla="*/ 274 w 328"/>
                <a:gd name="T39" fmla="*/ 0 h 58"/>
                <a:gd name="T40" fmla="*/ 328 w 328"/>
                <a:gd name="T41" fmla="*/ 27 h 58"/>
                <a:gd name="T42" fmla="*/ 328 w 328"/>
                <a:gd name="T43" fmla="*/ 31 h 58"/>
                <a:gd name="T44" fmla="*/ 274 w 328"/>
                <a:gd name="T45" fmla="*/ 58 h 58"/>
                <a:gd name="T46" fmla="*/ 270 w 328"/>
                <a:gd name="T47" fmla="*/ 56 h 58"/>
                <a:gd name="T48" fmla="*/ 270 w 328"/>
                <a:gd name="T49" fmla="*/ 2 h 58"/>
                <a:gd name="T50" fmla="*/ 275 w 328"/>
                <a:gd name="T51" fmla="*/ 56 h 58"/>
                <a:gd name="T52" fmla="*/ 272 w 328"/>
                <a:gd name="T53" fmla="*/ 54 h 58"/>
                <a:gd name="T54" fmla="*/ 326 w 328"/>
                <a:gd name="T55" fmla="*/ 27 h 58"/>
                <a:gd name="T56" fmla="*/ 326 w 328"/>
                <a:gd name="T57" fmla="*/ 31 h 58"/>
                <a:gd name="T58" fmla="*/ 272 w 328"/>
                <a:gd name="T59" fmla="*/ 4 h 58"/>
                <a:gd name="T60" fmla="*/ 275 w 328"/>
                <a:gd name="T61" fmla="*/ 2 h 58"/>
                <a:gd name="T62" fmla="*/ 275 w 328"/>
                <a:gd name="T63" fmla="*/ 56 h 5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8"/>
                <a:gd name="T97" fmla="*/ 0 h 58"/>
                <a:gd name="T98" fmla="*/ 328 w 328"/>
                <a:gd name="T99" fmla="*/ 58 h 5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8" h="58">
                  <a:moveTo>
                    <a:pt x="0" y="20"/>
                  </a:moveTo>
                  <a:lnTo>
                    <a:pt x="3" y="18"/>
                  </a:lnTo>
                  <a:lnTo>
                    <a:pt x="282" y="18"/>
                  </a:lnTo>
                  <a:lnTo>
                    <a:pt x="284" y="20"/>
                  </a:lnTo>
                  <a:lnTo>
                    <a:pt x="284" y="38"/>
                  </a:lnTo>
                  <a:lnTo>
                    <a:pt x="282" y="40"/>
                  </a:lnTo>
                  <a:lnTo>
                    <a:pt x="3" y="40"/>
                  </a:lnTo>
                  <a:lnTo>
                    <a:pt x="0" y="38"/>
                  </a:lnTo>
                  <a:lnTo>
                    <a:pt x="0" y="20"/>
                  </a:lnTo>
                  <a:close/>
                  <a:moveTo>
                    <a:pt x="5" y="38"/>
                  </a:moveTo>
                  <a:lnTo>
                    <a:pt x="3" y="36"/>
                  </a:lnTo>
                  <a:lnTo>
                    <a:pt x="282" y="36"/>
                  </a:lnTo>
                  <a:lnTo>
                    <a:pt x="279" y="38"/>
                  </a:lnTo>
                  <a:lnTo>
                    <a:pt x="279" y="20"/>
                  </a:lnTo>
                  <a:lnTo>
                    <a:pt x="282" y="22"/>
                  </a:lnTo>
                  <a:lnTo>
                    <a:pt x="3" y="22"/>
                  </a:lnTo>
                  <a:lnTo>
                    <a:pt x="5" y="20"/>
                  </a:lnTo>
                  <a:lnTo>
                    <a:pt x="5" y="38"/>
                  </a:lnTo>
                  <a:close/>
                  <a:moveTo>
                    <a:pt x="270" y="2"/>
                  </a:moveTo>
                  <a:lnTo>
                    <a:pt x="274" y="0"/>
                  </a:lnTo>
                  <a:lnTo>
                    <a:pt x="328" y="27"/>
                  </a:lnTo>
                  <a:lnTo>
                    <a:pt x="328" y="31"/>
                  </a:lnTo>
                  <a:lnTo>
                    <a:pt x="274" y="58"/>
                  </a:lnTo>
                  <a:lnTo>
                    <a:pt x="270" y="56"/>
                  </a:lnTo>
                  <a:lnTo>
                    <a:pt x="270" y="2"/>
                  </a:lnTo>
                  <a:close/>
                  <a:moveTo>
                    <a:pt x="275" y="56"/>
                  </a:moveTo>
                  <a:lnTo>
                    <a:pt x="272" y="54"/>
                  </a:lnTo>
                  <a:lnTo>
                    <a:pt x="326" y="27"/>
                  </a:lnTo>
                  <a:lnTo>
                    <a:pt x="326" y="31"/>
                  </a:lnTo>
                  <a:lnTo>
                    <a:pt x="272" y="4"/>
                  </a:lnTo>
                  <a:lnTo>
                    <a:pt x="275" y="2"/>
                  </a:lnTo>
                  <a:lnTo>
                    <a:pt x="275" y="56"/>
                  </a:lnTo>
                  <a:close/>
                </a:path>
              </a:pathLst>
            </a:custGeom>
            <a:solidFill>
              <a:srgbClr val="FFFF00"/>
            </a:solidFill>
            <a:ln w="0">
              <a:solidFill>
                <a:srgbClr val="FFFF00"/>
              </a:solidFill>
              <a:round/>
              <a:headEnd/>
              <a:tailEnd/>
            </a:ln>
          </p:spPr>
          <p:txBody>
            <a:bodyPr/>
            <a:lstStyle/>
            <a:p>
              <a:endParaRPr lang="en-US"/>
            </a:p>
          </p:txBody>
        </p:sp>
        <p:sp>
          <p:nvSpPr>
            <p:cNvPr id="42049" name="Freeform 34"/>
            <p:cNvSpPr>
              <a:spLocks noEditPoints="1"/>
            </p:cNvSpPr>
            <p:nvPr/>
          </p:nvSpPr>
          <p:spPr bwMode="auto">
            <a:xfrm>
              <a:off x="728" y="3114"/>
              <a:ext cx="324" cy="54"/>
            </a:xfrm>
            <a:custGeom>
              <a:avLst/>
              <a:gdLst>
                <a:gd name="T0" fmla="*/ 0 w 324"/>
                <a:gd name="T1" fmla="*/ 18 h 54"/>
                <a:gd name="T2" fmla="*/ 279 w 324"/>
                <a:gd name="T3" fmla="*/ 18 h 54"/>
                <a:gd name="T4" fmla="*/ 279 w 324"/>
                <a:gd name="T5" fmla="*/ 36 h 54"/>
                <a:gd name="T6" fmla="*/ 0 w 324"/>
                <a:gd name="T7" fmla="*/ 36 h 54"/>
                <a:gd name="T8" fmla="*/ 0 w 324"/>
                <a:gd name="T9" fmla="*/ 18 h 54"/>
                <a:gd name="T10" fmla="*/ 270 w 324"/>
                <a:gd name="T11" fmla="*/ 0 h 54"/>
                <a:gd name="T12" fmla="*/ 324 w 324"/>
                <a:gd name="T13" fmla="*/ 27 h 54"/>
                <a:gd name="T14" fmla="*/ 270 w 324"/>
                <a:gd name="T15" fmla="*/ 54 h 54"/>
                <a:gd name="T16" fmla="*/ 270 w 324"/>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4"/>
                <a:gd name="T28" fmla="*/ 0 h 54"/>
                <a:gd name="T29" fmla="*/ 324 w 324"/>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4" h="54">
                  <a:moveTo>
                    <a:pt x="0" y="18"/>
                  </a:moveTo>
                  <a:lnTo>
                    <a:pt x="279" y="18"/>
                  </a:lnTo>
                  <a:lnTo>
                    <a:pt x="279" y="36"/>
                  </a:lnTo>
                  <a:lnTo>
                    <a:pt x="0" y="36"/>
                  </a:lnTo>
                  <a:lnTo>
                    <a:pt x="0" y="18"/>
                  </a:lnTo>
                  <a:close/>
                  <a:moveTo>
                    <a:pt x="270" y="0"/>
                  </a:moveTo>
                  <a:lnTo>
                    <a:pt x="324" y="27"/>
                  </a:lnTo>
                  <a:lnTo>
                    <a:pt x="270" y="54"/>
                  </a:lnTo>
                  <a:lnTo>
                    <a:pt x="270" y="0"/>
                  </a:lnTo>
                  <a:close/>
                </a:path>
              </a:pathLst>
            </a:custGeom>
            <a:solidFill>
              <a:srgbClr val="808080"/>
            </a:solidFill>
            <a:ln w="9525">
              <a:noFill/>
              <a:miter lim="800000"/>
              <a:headEnd/>
              <a:tailEnd/>
            </a:ln>
          </p:spPr>
          <p:txBody>
            <a:bodyPr/>
            <a:lstStyle/>
            <a:p>
              <a:endParaRPr lang="en-US"/>
            </a:p>
          </p:txBody>
        </p:sp>
        <p:sp>
          <p:nvSpPr>
            <p:cNvPr id="42050" name="Freeform 35"/>
            <p:cNvSpPr>
              <a:spLocks noEditPoints="1"/>
            </p:cNvSpPr>
            <p:nvPr/>
          </p:nvSpPr>
          <p:spPr bwMode="auto">
            <a:xfrm>
              <a:off x="728" y="3110"/>
              <a:ext cx="328" cy="58"/>
            </a:xfrm>
            <a:custGeom>
              <a:avLst/>
              <a:gdLst>
                <a:gd name="T0" fmla="*/ 0 w 328"/>
                <a:gd name="T1" fmla="*/ 20 h 58"/>
                <a:gd name="T2" fmla="*/ 3 w 328"/>
                <a:gd name="T3" fmla="*/ 18 h 58"/>
                <a:gd name="T4" fmla="*/ 282 w 328"/>
                <a:gd name="T5" fmla="*/ 18 h 58"/>
                <a:gd name="T6" fmla="*/ 284 w 328"/>
                <a:gd name="T7" fmla="*/ 20 h 58"/>
                <a:gd name="T8" fmla="*/ 284 w 328"/>
                <a:gd name="T9" fmla="*/ 38 h 58"/>
                <a:gd name="T10" fmla="*/ 282 w 328"/>
                <a:gd name="T11" fmla="*/ 40 h 58"/>
                <a:gd name="T12" fmla="*/ 3 w 328"/>
                <a:gd name="T13" fmla="*/ 40 h 58"/>
                <a:gd name="T14" fmla="*/ 0 w 328"/>
                <a:gd name="T15" fmla="*/ 38 h 58"/>
                <a:gd name="T16" fmla="*/ 0 w 328"/>
                <a:gd name="T17" fmla="*/ 20 h 58"/>
                <a:gd name="T18" fmla="*/ 5 w 328"/>
                <a:gd name="T19" fmla="*/ 38 h 58"/>
                <a:gd name="T20" fmla="*/ 3 w 328"/>
                <a:gd name="T21" fmla="*/ 36 h 58"/>
                <a:gd name="T22" fmla="*/ 282 w 328"/>
                <a:gd name="T23" fmla="*/ 36 h 58"/>
                <a:gd name="T24" fmla="*/ 279 w 328"/>
                <a:gd name="T25" fmla="*/ 38 h 58"/>
                <a:gd name="T26" fmla="*/ 279 w 328"/>
                <a:gd name="T27" fmla="*/ 20 h 58"/>
                <a:gd name="T28" fmla="*/ 282 w 328"/>
                <a:gd name="T29" fmla="*/ 22 h 58"/>
                <a:gd name="T30" fmla="*/ 3 w 328"/>
                <a:gd name="T31" fmla="*/ 22 h 58"/>
                <a:gd name="T32" fmla="*/ 5 w 328"/>
                <a:gd name="T33" fmla="*/ 20 h 58"/>
                <a:gd name="T34" fmla="*/ 5 w 328"/>
                <a:gd name="T35" fmla="*/ 38 h 58"/>
                <a:gd name="T36" fmla="*/ 270 w 328"/>
                <a:gd name="T37" fmla="*/ 2 h 58"/>
                <a:gd name="T38" fmla="*/ 274 w 328"/>
                <a:gd name="T39" fmla="*/ 0 h 58"/>
                <a:gd name="T40" fmla="*/ 328 w 328"/>
                <a:gd name="T41" fmla="*/ 27 h 58"/>
                <a:gd name="T42" fmla="*/ 328 w 328"/>
                <a:gd name="T43" fmla="*/ 31 h 58"/>
                <a:gd name="T44" fmla="*/ 274 w 328"/>
                <a:gd name="T45" fmla="*/ 58 h 58"/>
                <a:gd name="T46" fmla="*/ 270 w 328"/>
                <a:gd name="T47" fmla="*/ 56 h 58"/>
                <a:gd name="T48" fmla="*/ 270 w 328"/>
                <a:gd name="T49" fmla="*/ 2 h 58"/>
                <a:gd name="T50" fmla="*/ 275 w 328"/>
                <a:gd name="T51" fmla="*/ 56 h 58"/>
                <a:gd name="T52" fmla="*/ 272 w 328"/>
                <a:gd name="T53" fmla="*/ 54 h 58"/>
                <a:gd name="T54" fmla="*/ 326 w 328"/>
                <a:gd name="T55" fmla="*/ 27 h 58"/>
                <a:gd name="T56" fmla="*/ 326 w 328"/>
                <a:gd name="T57" fmla="*/ 31 h 58"/>
                <a:gd name="T58" fmla="*/ 272 w 328"/>
                <a:gd name="T59" fmla="*/ 4 h 58"/>
                <a:gd name="T60" fmla="*/ 275 w 328"/>
                <a:gd name="T61" fmla="*/ 2 h 58"/>
                <a:gd name="T62" fmla="*/ 275 w 328"/>
                <a:gd name="T63" fmla="*/ 56 h 5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8"/>
                <a:gd name="T97" fmla="*/ 0 h 58"/>
                <a:gd name="T98" fmla="*/ 328 w 328"/>
                <a:gd name="T99" fmla="*/ 58 h 5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8" h="58">
                  <a:moveTo>
                    <a:pt x="0" y="20"/>
                  </a:moveTo>
                  <a:lnTo>
                    <a:pt x="3" y="18"/>
                  </a:lnTo>
                  <a:lnTo>
                    <a:pt x="282" y="18"/>
                  </a:lnTo>
                  <a:lnTo>
                    <a:pt x="284" y="20"/>
                  </a:lnTo>
                  <a:lnTo>
                    <a:pt x="284" y="38"/>
                  </a:lnTo>
                  <a:lnTo>
                    <a:pt x="282" y="40"/>
                  </a:lnTo>
                  <a:lnTo>
                    <a:pt x="3" y="40"/>
                  </a:lnTo>
                  <a:lnTo>
                    <a:pt x="0" y="38"/>
                  </a:lnTo>
                  <a:lnTo>
                    <a:pt x="0" y="20"/>
                  </a:lnTo>
                  <a:close/>
                  <a:moveTo>
                    <a:pt x="5" y="38"/>
                  </a:moveTo>
                  <a:lnTo>
                    <a:pt x="3" y="36"/>
                  </a:lnTo>
                  <a:lnTo>
                    <a:pt x="282" y="36"/>
                  </a:lnTo>
                  <a:lnTo>
                    <a:pt x="279" y="38"/>
                  </a:lnTo>
                  <a:lnTo>
                    <a:pt x="279" y="20"/>
                  </a:lnTo>
                  <a:lnTo>
                    <a:pt x="282" y="22"/>
                  </a:lnTo>
                  <a:lnTo>
                    <a:pt x="3" y="22"/>
                  </a:lnTo>
                  <a:lnTo>
                    <a:pt x="5" y="20"/>
                  </a:lnTo>
                  <a:lnTo>
                    <a:pt x="5" y="38"/>
                  </a:lnTo>
                  <a:close/>
                  <a:moveTo>
                    <a:pt x="270" y="2"/>
                  </a:moveTo>
                  <a:lnTo>
                    <a:pt x="274" y="0"/>
                  </a:lnTo>
                  <a:lnTo>
                    <a:pt x="328" y="27"/>
                  </a:lnTo>
                  <a:lnTo>
                    <a:pt x="328" y="31"/>
                  </a:lnTo>
                  <a:lnTo>
                    <a:pt x="274" y="58"/>
                  </a:lnTo>
                  <a:lnTo>
                    <a:pt x="270" y="56"/>
                  </a:lnTo>
                  <a:lnTo>
                    <a:pt x="270" y="2"/>
                  </a:lnTo>
                  <a:close/>
                  <a:moveTo>
                    <a:pt x="275" y="56"/>
                  </a:moveTo>
                  <a:lnTo>
                    <a:pt x="272" y="54"/>
                  </a:lnTo>
                  <a:lnTo>
                    <a:pt x="326" y="27"/>
                  </a:lnTo>
                  <a:lnTo>
                    <a:pt x="326" y="31"/>
                  </a:lnTo>
                  <a:lnTo>
                    <a:pt x="272" y="4"/>
                  </a:lnTo>
                  <a:lnTo>
                    <a:pt x="275" y="2"/>
                  </a:lnTo>
                  <a:lnTo>
                    <a:pt x="275" y="56"/>
                  </a:lnTo>
                  <a:close/>
                </a:path>
              </a:pathLst>
            </a:custGeom>
            <a:solidFill>
              <a:srgbClr val="808080"/>
            </a:solidFill>
            <a:ln w="0">
              <a:solidFill>
                <a:srgbClr val="808080"/>
              </a:solidFill>
              <a:round/>
              <a:headEnd/>
              <a:tailEnd/>
            </a:ln>
          </p:spPr>
          <p:txBody>
            <a:bodyPr/>
            <a:lstStyle/>
            <a:p>
              <a:endParaRPr lang="en-US"/>
            </a:p>
          </p:txBody>
        </p:sp>
        <p:sp>
          <p:nvSpPr>
            <p:cNvPr id="42051" name="Rectangle 38"/>
            <p:cNvSpPr>
              <a:spLocks noChangeArrowheads="1"/>
            </p:cNvSpPr>
            <p:nvPr/>
          </p:nvSpPr>
          <p:spPr bwMode="auto">
            <a:xfrm>
              <a:off x="1162" y="2796"/>
              <a:ext cx="1292" cy="104"/>
            </a:xfrm>
            <a:prstGeom prst="rect">
              <a:avLst/>
            </a:prstGeom>
            <a:noFill/>
            <a:ln w="9525">
              <a:noFill/>
              <a:miter lim="800000"/>
              <a:headEnd/>
              <a:tailEnd/>
            </a:ln>
          </p:spPr>
          <p:txBody>
            <a:bodyPr wrap="none" lIns="0" tIns="0" rIns="0" bIns="0">
              <a:spAutoFit/>
            </a:bodyPr>
            <a:lstStyle/>
            <a:p>
              <a:r>
                <a:rPr lang="en-US" sz="900" b="1">
                  <a:solidFill>
                    <a:srgbClr val="000000"/>
                  </a:solidFill>
                </a:rPr>
                <a:t>XBID capacity allocation and energy </a:t>
              </a:r>
              <a:endParaRPr lang="en-US"/>
            </a:p>
          </p:txBody>
        </p:sp>
        <p:sp>
          <p:nvSpPr>
            <p:cNvPr id="42052" name="Rectangle 39"/>
            <p:cNvSpPr>
              <a:spLocks noChangeArrowheads="1"/>
            </p:cNvSpPr>
            <p:nvPr/>
          </p:nvSpPr>
          <p:spPr bwMode="auto">
            <a:xfrm>
              <a:off x="2418" y="2796"/>
              <a:ext cx="279" cy="104"/>
            </a:xfrm>
            <a:prstGeom prst="rect">
              <a:avLst/>
            </a:prstGeom>
            <a:noFill/>
            <a:ln w="9525">
              <a:noFill/>
              <a:miter lim="800000"/>
              <a:headEnd/>
              <a:tailEnd/>
            </a:ln>
          </p:spPr>
          <p:txBody>
            <a:bodyPr wrap="none" lIns="0" tIns="0" rIns="0" bIns="0">
              <a:spAutoFit/>
            </a:bodyPr>
            <a:lstStyle/>
            <a:p>
              <a:r>
                <a:rPr lang="en-US" sz="900" b="1">
                  <a:solidFill>
                    <a:srgbClr val="000000"/>
                  </a:solidFill>
                </a:rPr>
                <a:t>trading</a:t>
              </a:r>
              <a:endParaRPr lang="en-US"/>
            </a:p>
          </p:txBody>
        </p:sp>
        <p:sp>
          <p:nvSpPr>
            <p:cNvPr id="42053" name="Rectangle 40"/>
            <p:cNvSpPr>
              <a:spLocks noChangeArrowheads="1"/>
            </p:cNvSpPr>
            <p:nvPr/>
          </p:nvSpPr>
          <p:spPr bwMode="auto">
            <a:xfrm>
              <a:off x="1159" y="2866"/>
              <a:ext cx="1500" cy="9"/>
            </a:xfrm>
            <a:prstGeom prst="rect">
              <a:avLst/>
            </a:prstGeom>
            <a:solidFill>
              <a:srgbClr val="000000"/>
            </a:solidFill>
            <a:ln w="9525">
              <a:noFill/>
              <a:miter lim="800000"/>
              <a:headEnd/>
              <a:tailEnd/>
            </a:ln>
          </p:spPr>
          <p:txBody>
            <a:bodyPr/>
            <a:lstStyle/>
            <a:p>
              <a:endParaRPr lang="en-US"/>
            </a:p>
          </p:txBody>
        </p:sp>
        <p:sp>
          <p:nvSpPr>
            <p:cNvPr id="42054" name="Rectangle 41"/>
            <p:cNvSpPr>
              <a:spLocks noChangeArrowheads="1"/>
            </p:cNvSpPr>
            <p:nvPr/>
          </p:nvSpPr>
          <p:spPr bwMode="auto">
            <a:xfrm>
              <a:off x="1162" y="2910"/>
              <a:ext cx="1684" cy="87"/>
            </a:xfrm>
            <a:prstGeom prst="rect">
              <a:avLst/>
            </a:prstGeom>
            <a:noFill/>
            <a:ln w="9525">
              <a:noFill/>
              <a:miter lim="800000"/>
              <a:headEnd/>
              <a:tailEnd/>
            </a:ln>
          </p:spPr>
          <p:txBody>
            <a:bodyPr wrap="none" lIns="0" tIns="0" rIns="0" bIns="0">
              <a:spAutoFit/>
            </a:bodyPr>
            <a:lstStyle/>
            <a:p>
              <a:r>
                <a:rPr lang="en-US" sz="900" b="1">
                  <a:solidFill>
                    <a:srgbClr val="000000"/>
                  </a:solidFill>
                </a:rPr>
                <a:t>Continuous IDXB (integrated SOBF-CAF system)</a:t>
              </a:r>
              <a:endParaRPr lang="en-US"/>
            </a:p>
          </p:txBody>
        </p:sp>
        <p:sp>
          <p:nvSpPr>
            <p:cNvPr id="42055" name="Rectangle 42"/>
            <p:cNvSpPr>
              <a:spLocks noChangeArrowheads="1"/>
            </p:cNvSpPr>
            <p:nvPr/>
          </p:nvSpPr>
          <p:spPr bwMode="auto">
            <a:xfrm>
              <a:off x="1162" y="3203"/>
              <a:ext cx="707" cy="87"/>
            </a:xfrm>
            <a:prstGeom prst="rect">
              <a:avLst/>
            </a:prstGeom>
            <a:noFill/>
            <a:ln w="9525">
              <a:noFill/>
              <a:miter lim="800000"/>
              <a:headEnd/>
              <a:tailEnd/>
            </a:ln>
          </p:spPr>
          <p:txBody>
            <a:bodyPr wrap="none" lIns="0" tIns="0" rIns="0" bIns="0">
              <a:spAutoFit/>
            </a:bodyPr>
            <a:lstStyle/>
            <a:p>
              <a:r>
                <a:rPr lang="en-US" sz="900" b="1">
                  <a:solidFill>
                    <a:srgbClr val="000000"/>
                  </a:solidFill>
                </a:rPr>
                <a:t>Implicit ID auctions  </a:t>
              </a:r>
            </a:p>
          </p:txBody>
        </p:sp>
        <p:sp>
          <p:nvSpPr>
            <p:cNvPr id="42056" name="Rectangle 44"/>
            <p:cNvSpPr>
              <a:spLocks noChangeArrowheads="1"/>
            </p:cNvSpPr>
            <p:nvPr/>
          </p:nvSpPr>
          <p:spPr bwMode="auto">
            <a:xfrm>
              <a:off x="1162" y="3317"/>
              <a:ext cx="670" cy="87"/>
            </a:xfrm>
            <a:prstGeom prst="rect">
              <a:avLst/>
            </a:prstGeom>
            <a:noFill/>
            <a:ln w="9525">
              <a:noFill/>
              <a:miter lim="800000"/>
              <a:headEnd/>
              <a:tailEnd/>
            </a:ln>
          </p:spPr>
          <p:txBody>
            <a:bodyPr wrap="none" lIns="0" tIns="0" rIns="0" bIns="0">
              <a:spAutoFit/>
            </a:bodyPr>
            <a:lstStyle/>
            <a:p>
              <a:r>
                <a:rPr lang="en-US" sz="900" b="1">
                  <a:solidFill>
                    <a:srgbClr val="000000"/>
                  </a:solidFill>
                </a:rPr>
                <a:t>Explicit ID auctions</a:t>
              </a:r>
            </a:p>
          </p:txBody>
        </p:sp>
        <p:sp>
          <p:nvSpPr>
            <p:cNvPr id="42057" name="Rectangle 45"/>
            <p:cNvSpPr>
              <a:spLocks noChangeArrowheads="1"/>
            </p:cNvSpPr>
            <p:nvPr/>
          </p:nvSpPr>
          <p:spPr bwMode="auto">
            <a:xfrm>
              <a:off x="1162" y="3428"/>
              <a:ext cx="2011" cy="87"/>
            </a:xfrm>
            <a:prstGeom prst="rect">
              <a:avLst/>
            </a:prstGeom>
            <a:noFill/>
            <a:ln w="9525">
              <a:noFill/>
              <a:miter lim="800000"/>
              <a:headEnd/>
              <a:tailEnd/>
            </a:ln>
          </p:spPr>
          <p:txBody>
            <a:bodyPr wrap="none" lIns="0" tIns="0" rIns="0" bIns="0">
              <a:spAutoFit/>
            </a:bodyPr>
            <a:lstStyle/>
            <a:p>
              <a:r>
                <a:rPr lang="en-US" sz="900" b="1">
                  <a:solidFill>
                    <a:srgbClr val="000000"/>
                  </a:solidFill>
                </a:rPr>
                <a:t>Allocation methods based on ID sessions (Pro rata, FCFS)</a:t>
              </a:r>
            </a:p>
          </p:txBody>
        </p:sp>
        <p:sp>
          <p:nvSpPr>
            <p:cNvPr id="42058" name="Rectangle 46"/>
            <p:cNvSpPr>
              <a:spLocks noChangeArrowheads="1"/>
            </p:cNvSpPr>
            <p:nvPr/>
          </p:nvSpPr>
          <p:spPr bwMode="auto">
            <a:xfrm>
              <a:off x="1159" y="3105"/>
              <a:ext cx="1357" cy="87"/>
            </a:xfrm>
            <a:prstGeom prst="rect">
              <a:avLst/>
            </a:prstGeom>
            <a:noFill/>
            <a:ln w="9525">
              <a:noFill/>
              <a:miter lim="800000"/>
              <a:headEnd/>
              <a:tailEnd/>
            </a:ln>
          </p:spPr>
          <p:txBody>
            <a:bodyPr wrap="none" lIns="0" tIns="0" rIns="0" bIns="0">
              <a:spAutoFit/>
            </a:bodyPr>
            <a:lstStyle/>
            <a:p>
              <a:r>
                <a:rPr lang="en-US" sz="900" b="1">
                  <a:solidFill>
                    <a:srgbClr val="000000"/>
                  </a:solidFill>
                </a:rPr>
                <a:t>FCFS allocation of capacity obligations</a:t>
              </a:r>
              <a:endParaRPr lang="en-US" b="1"/>
            </a:p>
          </p:txBody>
        </p:sp>
        <p:sp>
          <p:nvSpPr>
            <p:cNvPr id="42059" name="Rectangle 47"/>
            <p:cNvSpPr>
              <a:spLocks noChangeArrowheads="1"/>
            </p:cNvSpPr>
            <p:nvPr/>
          </p:nvSpPr>
          <p:spPr bwMode="auto">
            <a:xfrm>
              <a:off x="1162" y="3555"/>
              <a:ext cx="1333" cy="87"/>
            </a:xfrm>
            <a:prstGeom prst="rect">
              <a:avLst/>
            </a:prstGeom>
            <a:noFill/>
            <a:ln w="9525">
              <a:noFill/>
              <a:miter lim="800000"/>
              <a:headEnd/>
              <a:tailEnd/>
            </a:ln>
          </p:spPr>
          <p:txBody>
            <a:bodyPr wrap="none" lIns="0" tIns="0" rIns="0" bIns="0">
              <a:spAutoFit/>
            </a:bodyPr>
            <a:lstStyle/>
            <a:p>
              <a:r>
                <a:rPr lang="en-US" sz="900" b="1">
                  <a:solidFill>
                    <a:srgbClr val="000000"/>
                  </a:solidFill>
                </a:rPr>
                <a:t>No intraday allocation method in place</a:t>
              </a:r>
            </a:p>
          </p:txBody>
        </p:sp>
        <p:sp>
          <p:nvSpPr>
            <p:cNvPr id="42060" name="Rectangle 48"/>
            <p:cNvSpPr>
              <a:spLocks noChangeArrowheads="1"/>
            </p:cNvSpPr>
            <p:nvPr/>
          </p:nvSpPr>
          <p:spPr bwMode="auto">
            <a:xfrm>
              <a:off x="1162" y="3669"/>
              <a:ext cx="1070" cy="87"/>
            </a:xfrm>
            <a:prstGeom prst="rect">
              <a:avLst/>
            </a:prstGeom>
            <a:noFill/>
            <a:ln w="9525">
              <a:noFill/>
              <a:miter lim="800000"/>
              <a:headEnd/>
              <a:tailEnd/>
            </a:ln>
          </p:spPr>
          <p:txBody>
            <a:bodyPr wrap="none" lIns="0" tIns="0" rIns="0" bIns="0">
              <a:spAutoFit/>
            </a:bodyPr>
            <a:lstStyle/>
            <a:p>
              <a:r>
                <a:rPr lang="en-US" sz="900" b="1">
                  <a:solidFill>
                    <a:srgbClr val="000000"/>
                  </a:solidFill>
                </a:rPr>
                <a:t>Not congested interconnection</a:t>
              </a:r>
            </a:p>
          </p:txBody>
        </p:sp>
        <p:sp>
          <p:nvSpPr>
            <p:cNvPr id="42061" name="Freeform 50"/>
            <p:cNvSpPr>
              <a:spLocks/>
            </p:cNvSpPr>
            <p:nvPr/>
          </p:nvSpPr>
          <p:spPr bwMode="auto">
            <a:xfrm>
              <a:off x="1931" y="1728"/>
              <a:ext cx="468" cy="464"/>
            </a:xfrm>
            <a:custGeom>
              <a:avLst/>
              <a:gdLst>
                <a:gd name="T0" fmla="*/ 0 w 1664"/>
                <a:gd name="T1" fmla="*/ 18 h 1648"/>
                <a:gd name="T2" fmla="*/ 19 w 1664"/>
                <a:gd name="T3" fmla="*/ 0 h 1648"/>
                <a:gd name="T4" fmla="*/ 19 w 1664"/>
                <a:gd name="T5" fmla="*/ 0 h 1648"/>
                <a:gd name="T6" fmla="*/ 19 w 1664"/>
                <a:gd name="T7" fmla="*/ 0 h 1648"/>
                <a:gd name="T8" fmla="*/ 37 w 1664"/>
                <a:gd name="T9" fmla="*/ 18 h 1648"/>
                <a:gd name="T10" fmla="*/ 37 w 1664"/>
                <a:gd name="T11" fmla="*/ 18 h 1648"/>
                <a:gd name="T12" fmla="*/ 37 w 1664"/>
                <a:gd name="T13" fmla="*/ 18 h 1648"/>
                <a:gd name="T14" fmla="*/ 19 w 1664"/>
                <a:gd name="T15" fmla="*/ 37 h 1648"/>
                <a:gd name="T16" fmla="*/ 19 w 1664"/>
                <a:gd name="T17" fmla="*/ 37 h 1648"/>
                <a:gd name="T18" fmla="*/ 19 w 1664"/>
                <a:gd name="T19" fmla="*/ 37 h 1648"/>
                <a:gd name="T20" fmla="*/ 0 w 1664"/>
                <a:gd name="T21" fmla="*/ 18 h 1648"/>
                <a:gd name="T22" fmla="*/ 0 w 1664"/>
                <a:gd name="T23" fmla="*/ 18 h 16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64"/>
                <a:gd name="T37" fmla="*/ 0 h 1648"/>
                <a:gd name="T38" fmla="*/ 1664 w 1664"/>
                <a:gd name="T39" fmla="*/ 1648 h 16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64" h="1648">
                  <a:moveTo>
                    <a:pt x="0" y="824"/>
                  </a:moveTo>
                  <a:cubicBezTo>
                    <a:pt x="0" y="369"/>
                    <a:pt x="373" y="0"/>
                    <a:pt x="832" y="0"/>
                  </a:cubicBezTo>
                  <a:cubicBezTo>
                    <a:pt x="832" y="0"/>
                    <a:pt x="832" y="0"/>
                    <a:pt x="832" y="0"/>
                  </a:cubicBezTo>
                  <a:cubicBezTo>
                    <a:pt x="1292" y="0"/>
                    <a:pt x="1664" y="369"/>
                    <a:pt x="1664" y="824"/>
                  </a:cubicBezTo>
                  <a:cubicBezTo>
                    <a:pt x="1664" y="824"/>
                    <a:pt x="1664" y="824"/>
                    <a:pt x="1664" y="824"/>
                  </a:cubicBezTo>
                  <a:cubicBezTo>
                    <a:pt x="1664" y="1280"/>
                    <a:pt x="1292" y="1648"/>
                    <a:pt x="832" y="1648"/>
                  </a:cubicBezTo>
                  <a:cubicBezTo>
                    <a:pt x="832" y="1648"/>
                    <a:pt x="832" y="1648"/>
                    <a:pt x="832" y="1648"/>
                  </a:cubicBezTo>
                  <a:cubicBezTo>
                    <a:pt x="373" y="1648"/>
                    <a:pt x="0" y="1280"/>
                    <a:pt x="0" y="824"/>
                  </a:cubicBezTo>
                  <a:cubicBezTo>
                    <a:pt x="0" y="824"/>
                    <a:pt x="0" y="824"/>
                    <a:pt x="0" y="824"/>
                  </a:cubicBezTo>
                  <a:close/>
                </a:path>
              </a:pathLst>
            </a:custGeom>
            <a:solidFill>
              <a:srgbClr val="00FF04"/>
            </a:solidFill>
            <a:ln w="0">
              <a:solidFill>
                <a:srgbClr val="000000"/>
              </a:solidFill>
              <a:round/>
              <a:headEnd/>
              <a:tailEnd/>
            </a:ln>
          </p:spPr>
          <p:txBody>
            <a:bodyPr/>
            <a:lstStyle/>
            <a:p>
              <a:endParaRPr lang="en-US"/>
            </a:p>
          </p:txBody>
        </p:sp>
        <p:sp>
          <p:nvSpPr>
            <p:cNvPr id="42062" name="Freeform 51"/>
            <p:cNvSpPr>
              <a:spLocks noEditPoints="1"/>
            </p:cNvSpPr>
            <p:nvPr/>
          </p:nvSpPr>
          <p:spPr bwMode="auto">
            <a:xfrm>
              <a:off x="1929" y="1726"/>
              <a:ext cx="472" cy="468"/>
            </a:xfrm>
            <a:custGeom>
              <a:avLst/>
              <a:gdLst>
                <a:gd name="T0" fmla="*/ 5 w 472"/>
                <a:gd name="T1" fmla="*/ 187 h 468"/>
                <a:gd name="T2" fmla="*/ 28 w 472"/>
                <a:gd name="T3" fmla="*/ 123 h 468"/>
                <a:gd name="T4" fmla="*/ 69 w 472"/>
                <a:gd name="T5" fmla="*/ 69 h 468"/>
                <a:gd name="T6" fmla="*/ 124 w 472"/>
                <a:gd name="T7" fmla="*/ 29 h 468"/>
                <a:gd name="T8" fmla="*/ 189 w 472"/>
                <a:gd name="T9" fmla="*/ 5 h 468"/>
                <a:gd name="T10" fmla="*/ 260 w 472"/>
                <a:gd name="T11" fmla="*/ 1 h 468"/>
                <a:gd name="T12" fmla="*/ 328 w 472"/>
                <a:gd name="T13" fmla="*/ 19 h 468"/>
                <a:gd name="T14" fmla="*/ 386 w 472"/>
                <a:gd name="T15" fmla="*/ 54 h 468"/>
                <a:gd name="T16" fmla="*/ 432 w 472"/>
                <a:gd name="T17" fmla="*/ 103 h 468"/>
                <a:gd name="T18" fmla="*/ 462 w 472"/>
                <a:gd name="T19" fmla="*/ 165 h 468"/>
                <a:gd name="T20" fmla="*/ 472 w 472"/>
                <a:gd name="T21" fmla="*/ 234 h 468"/>
                <a:gd name="T22" fmla="*/ 462 w 472"/>
                <a:gd name="T23" fmla="*/ 304 h 468"/>
                <a:gd name="T24" fmla="*/ 432 w 472"/>
                <a:gd name="T25" fmla="*/ 365 h 468"/>
                <a:gd name="T26" fmla="*/ 387 w 472"/>
                <a:gd name="T27" fmla="*/ 415 h 468"/>
                <a:gd name="T28" fmla="*/ 328 w 472"/>
                <a:gd name="T29" fmla="*/ 450 h 468"/>
                <a:gd name="T30" fmla="*/ 261 w 472"/>
                <a:gd name="T31" fmla="*/ 467 h 468"/>
                <a:gd name="T32" fmla="*/ 189 w 472"/>
                <a:gd name="T33" fmla="*/ 463 h 468"/>
                <a:gd name="T34" fmla="*/ 124 w 472"/>
                <a:gd name="T35" fmla="*/ 440 h 468"/>
                <a:gd name="T36" fmla="*/ 69 w 472"/>
                <a:gd name="T37" fmla="*/ 400 h 468"/>
                <a:gd name="T38" fmla="*/ 29 w 472"/>
                <a:gd name="T39" fmla="*/ 346 h 468"/>
                <a:gd name="T40" fmla="*/ 5 w 472"/>
                <a:gd name="T41" fmla="*/ 281 h 468"/>
                <a:gd name="T42" fmla="*/ 5 w 472"/>
                <a:gd name="T43" fmla="*/ 258 h 468"/>
                <a:gd name="T44" fmla="*/ 23 w 472"/>
                <a:gd name="T45" fmla="*/ 324 h 468"/>
                <a:gd name="T46" fmla="*/ 57 w 472"/>
                <a:gd name="T47" fmla="*/ 380 h 468"/>
                <a:gd name="T48" fmla="*/ 107 w 472"/>
                <a:gd name="T49" fmla="*/ 425 h 468"/>
                <a:gd name="T50" fmla="*/ 167 w 472"/>
                <a:gd name="T51" fmla="*/ 454 h 468"/>
                <a:gd name="T52" fmla="*/ 236 w 472"/>
                <a:gd name="T53" fmla="*/ 464 h 468"/>
                <a:gd name="T54" fmla="*/ 305 w 472"/>
                <a:gd name="T55" fmla="*/ 454 h 468"/>
                <a:gd name="T56" fmla="*/ 366 w 472"/>
                <a:gd name="T57" fmla="*/ 425 h 468"/>
                <a:gd name="T58" fmla="*/ 415 w 472"/>
                <a:gd name="T59" fmla="*/ 381 h 468"/>
                <a:gd name="T60" fmla="*/ 450 w 472"/>
                <a:gd name="T61" fmla="*/ 324 h 468"/>
                <a:gd name="T62" fmla="*/ 467 w 472"/>
                <a:gd name="T63" fmla="*/ 258 h 468"/>
                <a:gd name="T64" fmla="*/ 463 w 472"/>
                <a:gd name="T65" fmla="*/ 188 h 468"/>
                <a:gd name="T66" fmla="*/ 440 w 472"/>
                <a:gd name="T67" fmla="*/ 125 h 468"/>
                <a:gd name="T68" fmla="*/ 400 w 472"/>
                <a:gd name="T69" fmla="*/ 72 h 468"/>
                <a:gd name="T70" fmla="*/ 347 w 472"/>
                <a:gd name="T71" fmla="*/ 32 h 468"/>
                <a:gd name="T72" fmla="*/ 283 w 472"/>
                <a:gd name="T73" fmla="*/ 9 h 468"/>
                <a:gd name="T74" fmla="*/ 213 w 472"/>
                <a:gd name="T75" fmla="*/ 6 h 468"/>
                <a:gd name="T76" fmla="*/ 146 w 472"/>
                <a:gd name="T77" fmla="*/ 23 h 468"/>
                <a:gd name="T78" fmla="*/ 89 w 472"/>
                <a:gd name="T79" fmla="*/ 57 h 468"/>
                <a:gd name="T80" fmla="*/ 44 w 472"/>
                <a:gd name="T81" fmla="*/ 106 h 468"/>
                <a:gd name="T82" fmla="*/ 15 w 472"/>
                <a:gd name="T83" fmla="*/ 166 h 468"/>
                <a:gd name="T84" fmla="*/ 4 w 472"/>
                <a:gd name="T85" fmla="*/ 234 h 4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72"/>
                <a:gd name="T130" fmla="*/ 0 h 468"/>
                <a:gd name="T131" fmla="*/ 472 w 472"/>
                <a:gd name="T132" fmla="*/ 468 h 46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72" h="468">
                  <a:moveTo>
                    <a:pt x="0" y="234"/>
                  </a:moveTo>
                  <a:lnTo>
                    <a:pt x="1" y="211"/>
                  </a:lnTo>
                  <a:lnTo>
                    <a:pt x="5" y="187"/>
                  </a:lnTo>
                  <a:lnTo>
                    <a:pt x="10" y="165"/>
                  </a:lnTo>
                  <a:lnTo>
                    <a:pt x="18" y="143"/>
                  </a:lnTo>
                  <a:lnTo>
                    <a:pt x="28" y="123"/>
                  </a:lnTo>
                  <a:lnTo>
                    <a:pt x="40" y="103"/>
                  </a:lnTo>
                  <a:lnTo>
                    <a:pt x="54" y="86"/>
                  </a:lnTo>
                  <a:lnTo>
                    <a:pt x="69" y="69"/>
                  </a:lnTo>
                  <a:lnTo>
                    <a:pt x="86" y="54"/>
                  </a:lnTo>
                  <a:lnTo>
                    <a:pt x="104" y="40"/>
                  </a:lnTo>
                  <a:lnTo>
                    <a:pt x="124" y="29"/>
                  </a:lnTo>
                  <a:lnTo>
                    <a:pt x="144" y="19"/>
                  </a:lnTo>
                  <a:lnTo>
                    <a:pt x="166" y="11"/>
                  </a:lnTo>
                  <a:lnTo>
                    <a:pt x="189" y="5"/>
                  </a:lnTo>
                  <a:lnTo>
                    <a:pt x="212" y="1"/>
                  </a:lnTo>
                  <a:lnTo>
                    <a:pt x="236" y="0"/>
                  </a:lnTo>
                  <a:lnTo>
                    <a:pt x="260" y="1"/>
                  </a:lnTo>
                  <a:lnTo>
                    <a:pt x="284" y="5"/>
                  </a:lnTo>
                  <a:lnTo>
                    <a:pt x="306" y="11"/>
                  </a:lnTo>
                  <a:lnTo>
                    <a:pt x="328" y="19"/>
                  </a:lnTo>
                  <a:lnTo>
                    <a:pt x="349" y="28"/>
                  </a:lnTo>
                  <a:lnTo>
                    <a:pt x="368" y="40"/>
                  </a:lnTo>
                  <a:lnTo>
                    <a:pt x="386" y="54"/>
                  </a:lnTo>
                  <a:lnTo>
                    <a:pt x="403" y="68"/>
                  </a:lnTo>
                  <a:lnTo>
                    <a:pt x="418" y="85"/>
                  </a:lnTo>
                  <a:lnTo>
                    <a:pt x="432" y="103"/>
                  </a:lnTo>
                  <a:lnTo>
                    <a:pt x="444" y="122"/>
                  </a:lnTo>
                  <a:lnTo>
                    <a:pt x="454" y="143"/>
                  </a:lnTo>
                  <a:lnTo>
                    <a:pt x="462" y="165"/>
                  </a:lnTo>
                  <a:lnTo>
                    <a:pt x="468" y="187"/>
                  </a:lnTo>
                  <a:lnTo>
                    <a:pt x="471" y="210"/>
                  </a:lnTo>
                  <a:lnTo>
                    <a:pt x="472" y="234"/>
                  </a:lnTo>
                  <a:lnTo>
                    <a:pt x="471" y="258"/>
                  </a:lnTo>
                  <a:lnTo>
                    <a:pt x="468" y="281"/>
                  </a:lnTo>
                  <a:lnTo>
                    <a:pt x="462" y="304"/>
                  </a:lnTo>
                  <a:lnTo>
                    <a:pt x="454" y="325"/>
                  </a:lnTo>
                  <a:lnTo>
                    <a:pt x="444" y="346"/>
                  </a:lnTo>
                  <a:lnTo>
                    <a:pt x="432" y="365"/>
                  </a:lnTo>
                  <a:lnTo>
                    <a:pt x="419" y="383"/>
                  </a:lnTo>
                  <a:lnTo>
                    <a:pt x="403" y="400"/>
                  </a:lnTo>
                  <a:lnTo>
                    <a:pt x="387" y="415"/>
                  </a:lnTo>
                  <a:lnTo>
                    <a:pt x="368" y="429"/>
                  </a:lnTo>
                  <a:lnTo>
                    <a:pt x="349" y="440"/>
                  </a:lnTo>
                  <a:lnTo>
                    <a:pt x="328" y="450"/>
                  </a:lnTo>
                  <a:lnTo>
                    <a:pt x="307" y="458"/>
                  </a:lnTo>
                  <a:lnTo>
                    <a:pt x="284" y="463"/>
                  </a:lnTo>
                  <a:lnTo>
                    <a:pt x="261" y="467"/>
                  </a:lnTo>
                  <a:lnTo>
                    <a:pt x="236" y="468"/>
                  </a:lnTo>
                  <a:lnTo>
                    <a:pt x="212" y="467"/>
                  </a:lnTo>
                  <a:lnTo>
                    <a:pt x="189" y="463"/>
                  </a:lnTo>
                  <a:lnTo>
                    <a:pt x="166" y="458"/>
                  </a:lnTo>
                  <a:lnTo>
                    <a:pt x="144" y="450"/>
                  </a:lnTo>
                  <a:lnTo>
                    <a:pt x="124" y="440"/>
                  </a:lnTo>
                  <a:lnTo>
                    <a:pt x="104" y="429"/>
                  </a:lnTo>
                  <a:lnTo>
                    <a:pt x="86" y="415"/>
                  </a:lnTo>
                  <a:lnTo>
                    <a:pt x="69" y="400"/>
                  </a:lnTo>
                  <a:lnTo>
                    <a:pt x="54" y="384"/>
                  </a:lnTo>
                  <a:lnTo>
                    <a:pt x="40" y="365"/>
                  </a:lnTo>
                  <a:lnTo>
                    <a:pt x="29" y="346"/>
                  </a:lnTo>
                  <a:lnTo>
                    <a:pt x="18" y="326"/>
                  </a:lnTo>
                  <a:lnTo>
                    <a:pt x="10" y="304"/>
                  </a:lnTo>
                  <a:lnTo>
                    <a:pt x="5" y="281"/>
                  </a:lnTo>
                  <a:lnTo>
                    <a:pt x="1" y="258"/>
                  </a:lnTo>
                  <a:lnTo>
                    <a:pt x="0" y="234"/>
                  </a:lnTo>
                  <a:close/>
                  <a:moveTo>
                    <a:pt x="5" y="258"/>
                  </a:moveTo>
                  <a:lnTo>
                    <a:pt x="9" y="281"/>
                  </a:lnTo>
                  <a:lnTo>
                    <a:pt x="15" y="303"/>
                  </a:lnTo>
                  <a:lnTo>
                    <a:pt x="23" y="324"/>
                  </a:lnTo>
                  <a:lnTo>
                    <a:pt x="32" y="344"/>
                  </a:lnTo>
                  <a:lnTo>
                    <a:pt x="44" y="363"/>
                  </a:lnTo>
                  <a:lnTo>
                    <a:pt x="57" y="380"/>
                  </a:lnTo>
                  <a:lnTo>
                    <a:pt x="72" y="397"/>
                  </a:lnTo>
                  <a:lnTo>
                    <a:pt x="89" y="411"/>
                  </a:lnTo>
                  <a:lnTo>
                    <a:pt x="107" y="425"/>
                  </a:lnTo>
                  <a:lnTo>
                    <a:pt x="126" y="436"/>
                  </a:lnTo>
                  <a:lnTo>
                    <a:pt x="146" y="446"/>
                  </a:lnTo>
                  <a:lnTo>
                    <a:pt x="167" y="454"/>
                  </a:lnTo>
                  <a:lnTo>
                    <a:pt x="189" y="459"/>
                  </a:lnTo>
                  <a:lnTo>
                    <a:pt x="212" y="463"/>
                  </a:lnTo>
                  <a:lnTo>
                    <a:pt x="236" y="464"/>
                  </a:lnTo>
                  <a:lnTo>
                    <a:pt x="260" y="463"/>
                  </a:lnTo>
                  <a:lnTo>
                    <a:pt x="283" y="459"/>
                  </a:lnTo>
                  <a:lnTo>
                    <a:pt x="305" y="454"/>
                  </a:lnTo>
                  <a:lnTo>
                    <a:pt x="326" y="446"/>
                  </a:lnTo>
                  <a:lnTo>
                    <a:pt x="347" y="436"/>
                  </a:lnTo>
                  <a:lnTo>
                    <a:pt x="366" y="425"/>
                  </a:lnTo>
                  <a:lnTo>
                    <a:pt x="383" y="411"/>
                  </a:lnTo>
                  <a:lnTo>
                    <a:pt x="400" y="397"/>
                  </a:lnTo>
                  <a:lnTo>
                    <a:pt x="415" y="381"/>
                  </a:lnTo>
                  <a:lnTo>
                    <a:pt x="428" y="363"/>
                  </a:lnTo>
                  <a:lnTo>
                    <a:pt x="440" y="344"/>
                  </a:lnTo>
                  <a:lnTo>
                    <a:pt x="450" y="324"/>
                  </a:lnTo>
                  <a:lnTo>
                    <a:pt x="458" y="303"/>
                  </a:lnTo>
                  <a:lnTo>
                    <a:pt x="463" y="281"/>
                  </a:lnTo>
                  <a:lnTo>
                    <a:pt x="467" y="258"/>
                  </a:lnTo>
                  <a:lnTo>
                    <a:pt x="468" y="234"/>
                  </a:lnTo>
                  <a:lnTo>
                    <a:pt x="467" y="211"/>
                  </a:lnTo>
                  <a:lnTo>
                    <a:pt x="463" y="188"/>
                  </a:lnTo>
                  <a:lnTo>
                    <a:pt x="458" y="166"/>
                  </a:lnTo>
                  <a:lnTo>
                    <a:pt x="450" y="145"/>
                  </a:lnTo>
                  <a:lnTo>
                    <a:pt x="440" y="125"/>
                  </a:lnTo>
                  <a:lnTo>
                    <a:pt x="428" y="106"/>
                  </a:lnTo>
                  <a:lnTo>
                    <a:pt x="415" y="88"/>
                  </a:lnTo>
                  <a:lnTo>
                    <a:pt x="400" y="72"/>
                  </a:lnTo>
                  <a:lnTo>
                    <a:pt x="384" y="57"/>
                  </a:lnTo>
                  <a:lnTo>
                    <a:pt x="366" y="44"/>
                  </a:lnTo>
                  <a:lnTo>
                    <a:pt x="347" y="32"/>
                  </a:lnTo>
                  <a:lnTo>
                    <a:pt x="327" y="23"/>
                  </a:lnTo>
                  <a:lnTo>
                    <a:pt x="306" y="15"/>
                  </a:lnTo>
                  <a:lnTo>
                    <a:pt x="283" y="9"/>
                  </a:lnTo>
                  <a:lnTo>
                    <a:pt x="260" y="6"/>
                  </a:lnTo>
                  <a:lnTo>
                    <a:pt x="236" y="5"/>
                  </a:lnTo>
                  <a:lnTo>
                    <a:pt x="213" y="6"/>
                  </a:lnTo>
                  <a:lnTo>
                    <a:pt x="189" y="9"/>
                  </a:lnTo>
                  <a:lnTo>
                    <a:pt x="167" y="15"/>
                  </a:lnTo>
                  <a:lnTo>
                    <a:pt x="146" y="23"/>
                  </a:lnTo>
                  <a:lnTo>
                    <a:pt x="126" y="32"/>
                  </a:lnTo>
                  <a:lnTo>
                    <a:pt x="107" y="44"/>
                  </a:lnTo>
                  <a:lnTo>
                    <a:pt x="89" y="57"/>
                  </a:lnTo>
                  <a:lnTo>
                    <a:pt x="72" y="72"/>
                  </a:lnTo>
                  <a:lnTo>
                    <a:pt x="57" y="88"/>
                  </a:lnTo>
                  <a:lnTo>
                    <a:pt x="44" y="106"/>
                  </a:lnTo>
                  <a:lnTo>
                    <a:pt x="33" y="125"/>
                  </a:lnTo>
                  <a:lnTo>
                    <a:pt x="23" y="145"/>
                  </a:lnTo>
                  <a:lnTo>
                    <a:pt x="15" y="166"/>
                  </a:lnTo>
                  <a:lnTo>
                    <a:pt x="9" y="188"/>
                  </a:lnTo>
                  <a:lnTo>
                    <a:pt x="5" y="211"/>
                  </a:lnTo>
                  <a:lnTo>
                    <a:pt x="4" y="234"/>
                  </a:lnTo>
                  <a:lnTo>
                    <a:pt x="5" y="258"/>
                  </a:lnTo>
                  <a:close/>
                </a:path>
              </a:pathLst>
            </a:custGeom>
            <a:solidFill>
              <a:srgbClr val="000000"/>
            </a:solidFill>
            <a:ln w="0">
              <a:solidFill>
                <a:srgbClr val="000000"/>
              </a:solidFill>
              <a:round/>
              <a:headEnd/>
              <a:tailEnd/>
            </a:ln>
          </p:spPr>
          <p:txBody>
            <a:bodyPr/>
            <a:lstStyle/>
            <a:p>
              <a:endParaRPr lang="en-US"/>
            </a:p>
          </p:txBody>
        </p:sp>
        <p:sp>
          <p:nvSpPr>
            <p:cNvPr id="42063" name="Rectangle 53"/>
            <p:cNvSpPr>
              <a:spLocks noChangeArrowheads="1"/>
            </p:cNvSpPr>
            <p:nvPr/>
          </p:nvSpPr>
          <p:spPr bwMode="auto">
            <a:xfrm>
              <a:off x="2142" y="1919"/>
              <a:ext cx="85" cy="108"/>
            </a:xfrm>
            <a:prstGeom prst="rect">
              <a:avLst/>
            </a:prstGeom>
            <a:noFill/>
            <a:ln w="9525">
              <a:noFill/>
              <a:miter lim="800000"/>
              <a:headEnd/>
              <a:tailEnd/>
            </a:ln>
          </p:spPr>
          <p:txBody>
            <a:bodyPr wrap="none" lIns="0" tIns="0" rIns="0" bIns="0">
              <a:spAutoFit/>
            </a:bodyPr>
            <a:lstStyle/>
            <a:p>
              <a:r>
                <a:rPr lang="en-US" sz="1000">
                  <a:solidFill>
                    <a:srgbClr val="000000"/>
                  </a:solidFill>
                </a:rPr>
                <a:t>F</a:t>
              </a:r>
              <a:endParaRPr lang="en-US"/>
            </a:p>
          </p:txBody>
        </p:sp>
        <p:sp>
          <p:nvSpPr>
            <p:cNvPr id="42064" name="Freeform 55"/>
            <p:cNvSpPr>
              <a:spLocks noEditPoints="1"/>
            </p:cNvSpPr>
            <p:nvPr/>
          </p:nvSpPr>
          <p:spPr bwMode="auto">
            <a:xfrm>
              <a:off x="1307" y="1307"/>
              <a:ext cx="284" cy="302"/>
            </a:xfrm>
            <a:custGeom>
              <a:avLst/>
              <a:gdLst>
                <a:gd name="T0" fmla="*/ 0 w 1008"/>
                <a:gd name="T1" fmla="*/ 10 h 1072"/>
                <a:gd name="T2" fmla="*/ 1 w 1008"/>
                <a:gd name="T3" fmla="*/ 7 h 1072"/>
                <a:gd name="T4" fmla="*/ 3 w 1008"/>
                <a:gd name="T5" fmla="*/ 4 h 1072"/>
                <a:gd name="T6" fmla="*/ 5 w 1008"/>
                <a:gd name="T7" fmla="*/ 2 h 1072"/>
                <a:gd name="T8" fmla="*/ 9 w 1008"/>
                <a:gd name="T9" fmla="*/ 0 h 1072"/>
                <a:gd name="T10" fmla="*/ 11 w 1008"/>
                <a:gd name="T11" fmla="*/ 0 h 1072"/>
                <a:gd name="T12" fmla="*/ 16 w 1008"/>
                <a:gd name="T13" fmla="*/ 1 h 1072"/>
                <a:gd name="T14" fmla="*/ 18 w 1008"/>
                <a:gd name="T15" fmla="*/ 2 h 1072"/>
                <a:gd name="T16" fmla="*/ 21 w 1008"/>
                <a:gd name="T17" fmla="*/ 5 h 1072"/>
                <a:gd name="T18" fmla="*/ 22 w 1008"/>
                <a:gd name="T19" fmla="*/ 7 h 1072"/>
                <a:gd name="T20" fmla="*/ 23 w 1008"/>
                <a:gd name="T21" fmla="*/ 12 h 1072"/>
                <a:gd name="T22" fmla="*/ 22 w 1008"/>
                <a:gd name="T23" fmla="*/ 14 h 1072"/>
                <a:gd name="T24" fmla="*/ 21 w 1008"/>
                <a:gd name="T25" fmla="*/ 19 h 1072"/>
                <a:gd name="T26" fmla="*/ 19 w 1008"/>
                <a:gd name="T27" fmla="*/ 21 h 1072"/>
                <a:gd name="T28" fmla="*/ 16 w 1008"/>
                <a:gd name="T29" fmla="*/ 23 h 1072"/>
                <a:gd name="T30" fmla="*/ 14 w 1008"/>
                <a:gd name="T31" fmla="*/ 24 h 1072"/>
                <a:gd name="T32" fmla="*/ 9 w 1008"/>
                <a:gd name="T33" fmla="*/ 24 h 1072"/>
                <a:gd name="T34" fmla="*/ 7 w 1008"/>
                <a:gd name="T35" fmla="*/ 23 h 1072"/>
                <a:gd name="T36" fmla="*/ 3 w 1008"/>
                <a:gd name="T37" fmla="*/ 21 h 1072"/>
                <a:gd name="T38" fmla="*/ 2 w 1008"/>
                <a:gd name="T39" fmla="*/ 19 h 1072"/>
                <a:gd name="T40" fmla="*/ 0 w 1008"/>
                <a:gd name="T41" fmla="*/ 14 h 1072"/>
                <a:gd name="T42" fmla="*/ 1 w 1008"/>
                <a:gd name="T43" fmla="*/ 14 h 1072"/>
                <a:gd name="T44" fmla="*/ 1 w 1008"/>
                <a:gd name="T45" fmla="*/ 17 h 1072"/>
                <a:gd name="T46" fmla="*/ 4 w 1008"/>
                <a:gd name="T47" fmla="*/ 20 h 1072"/>
                <a:gd name="T48" fmla="*/ 5 w 1008"/>
                <a:gd name="T49" fmla="*/ 22 h 1072"/>
                <a:gd name="T50" fmla="*/ 9 w 1008"/>
                <a:gd name="T51" fmla="*/ 23 h 1072"/>
                <a:gd name="T52" fmla="*/ 11 w 1008"/>
                <a:gd name="T53" fmla="*/ 24 h 1072"/>
                <a:gd name="T54" fmla="*/ 15 w 1008"/>
                <a:gd name="T55" fmla="*/ 23 h 1072"/>
                <a:gd name="T56" fmla="*/ 17 w 1008"/>
                <a:gd name="T57" fmla="*/ 22 h 1072"/>
                <a:gd name="T58" fmla="*/ 20 w 1008"/>
                <a:gd name="T59" fmla="*/ 19 h 1072"/>
                <a:gd name="T60" fmla="*/ 21 w 1008"/>
                <a:gd name="T61" fmla="*/ 17 h 1072"/>
                <a:gd name="T62" fmla="*/ 22 w 1008"/>
                <a:gd name="T63" fmla="*/ 12 h 1072"/>
                <a:gd name="T64" fmla="*/ 22 w 1008"/>
                <a:gd name="T65" fmla="*/ 10 h 1072"/>
                <a:gd name="T66" fmla="*/ 20 w 1008"/>
                <a:gd name="T67" fmla="*/ 5 h 1072"/>
                <a:gd name="T68" fmla="*/ 19 w 1008"/>
                <a:gd name="T69" fmla="*/ 4 h 1072"/>
                <a:gd name="T70" fmla="*/ 15 w 1008"/>
                <a:gd name="T71" fmla="*/ 1 h 1072"/>
                <a:gd name="T72" fmla="*/ 14 w 1008"/>
                <a:gd name="T73" fmla="*/ 1 h 1072"/>
                <a:gd name="T74" fmla="*/ 9 w 1008"/>
                <a:gd name="T75" fmla="*/ 1 h 1072"/>
                <a:gd name="T76" fmla="*/ 7 w 1008"/>
                <a:gd name="T77" fmla="*/ 1 h 1072"/>
                <a:gd name="T78" fmla="*/ 4 w 1008"/>
                <a:gd name="T79" fmla="*/ 4 h 1072"/>
                <a:gd name="T80" fmla="*/ 2 w 1008"/>
                <a:gd name="T81" fmla="*/ 5 h 1072"/>
                <a:gd name="T82" fmla="*/ 1 w 1008"/>
                <a:gd name="T83" fmla="*/ 10 h 1072"/>
                <a:gd name="T84" fmla="*/ 0 w 1008"/>
                <a:gd name="T85" fmla="*/ 12 h 107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8"/>
                <a:gd name="T130" fmla="*/ 0 h 1072"/>
                <a:gd name="T131" fmla="*/ 1008 w 1008"/>
                <a:gd name="T132" fmla="*/ 1072 h 107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8" h="1072">
                  <a:moveTo>
                    <a:pt x="0" y="537"/>
                  </a:moveTo>
                  <a:cubicBezTo>
                    <a:pt x="0" y="537"/>
                    <a:pt x="0" y="536"/>
                    <a:pt x="0" y="536"/>
                  </a:cubicBezTo>
                  <a:lnTo>
                    <a:pt x="10" y="430"/>
                  </a:lnTo>
                  <a:cubicBezTo>
                    <a:pt x="11" y="429"/>
                    <a:pt x="11" y="429"/>
                    <a:pt x="11" y="428"/>
                  </a:cubicBezTo>
                  <a:lnTo>
                    <a:pt x="40" y="329"/>
                  </a:lnTo>
                  <a:cubicBezTo>
                    <a:pt x="40" y="329"/>
                    <a:pt x="40" y="328"/>
                    <a:pt x="40" y="328"/>
                  </a:cubicBezTo>
                  <a:lnTo>
                    <a:pt x="86" y="238"/>
                  </a:lnTo>
                  <a:cubicBezTo>
                    <a:pt x="87" y="237"/>
                    <a:pt x="87" y="237"/>
                    <a:pt x="87" y="237"/>
                  </a:cubicBezTo>
                  <a:lnTo>
                    <a:pt x="148" y="159"/>
                  </a:lnTo>
                  <a:cubicBezTo>
                    <a:pt x="148" y="158"/>
                    <a:pt x="149" y="158"/>
                    <a:pt x="149" y="157"/>
                  </a:cubicBezTo>
                  <a:lnTo>
                    <a:pt x="222" y="92"/>
                  </a:lnTo>
                  <a:cubicBezTo>
                    <a:pt x="223" y="92"/>
                    <a:pt x="223" y="92"/>
                    <a:pt x="223" y="92"/>
                  </a:cubicBezTo>
                  <a:lnTo>
                    <a:pt x="307" y="44"/>
                  </a:lnTo>
                  <a:cubicBezTo>
                    <a:pt x="308" y="43"/>
                    <a:pt x="308" y="43"/>
                    <a:pt x="309" y="43"/>
                  </a:cubicBezTo>
                  <a:lnTo>
                    <a:pt x="402" y="12"/>
                  </a:lnTo>
                  <a:cubicBezTo>
                    <a:pt x="402" y="12"/>
                    <a:pt x="403" y="12"/>
                    <a:pt x="404" y="12"/>
                  </a:cubicBezTo>
                  <a:lnTo>
                    <a:pt x="504" y="1"/>
                  </a:lnTo>
                  <a:cubicBezTo>
                    <a:pt x="504" y="0"/>
                    <a:pt x="505" y="0"/>
                    <a:pt x="505" y="1"/>
                  </a:cubicBezTo>
                  <a:lnTo>
                    <a:pt x="605" y="12"/>
                  </a:lnTo>
                  <a:cubicBezTo>
                    <a:pt x="606" y="12"/>
                    <a:pt x="606" y="12"/>
                    <a:pt x="607" y="12"/>
                  </a:cubicBezTo>
                  <a:lnTo>
                    <a:pt x="700" y="43"/>
                  </a:lnTo>
                  <a:cubicBezTo>
                    <a:pt x="700" y="43"/>
                    <a:pt x="701" y="43"/>
                    <a:pt x="701" y="44"/>
                  </a:cubicBezTo>
                  <a:lnTo>
                    <a:pt x="785" y="92"/>
                  </a:lnTo>
                  <a:cubicBezTo>
                    <a:pt x="786" y="92"/>
                    <a:pt x="786" y="92"/>
                    <a:pt x="787" y="92"/>
                  </a:cubicBezTo>
                  <a:lnTo>
                    <a:pt x="861" y="157"/>
                  </a:lnTo>
                  <a:cubicBezTo>
                    <a:pt x="861" y="158"/>
                    <a:pt x="861" y="158"/>
                    <a:pt x="862" y="159"/>
                  </a:cubicBezTo>
                  <a:lnTo>
                    <a:pt x="922" y="237"/>
                  </a:lnTo>
                  <a:cubicBezTo>
                    <a:pt x="922" y="237"/>
                    <a:pt x="922" y="237"/>
                    <a:pt x="923" y="238"/>
                  </a:cubicBezTo>
                  <a:lnTo>
                    <a:pt x="969" y="328"/>
                  </a:lnTo>
                  <a:cubicBezTo>
                    <a:pt x="969" y="328"/>
                    <a:pt x="969" y="329"/>
                    <a:pt x="969" y="329"/>
                  </a:cubicBezTo>
                  <a:lnTo>
                    <a:pt x="998" y="428"/>
                  </a:lnTo>
                  <a:cubicBezTo>
                    <a:pt x="998" y="429"/>
                    <a:pt x="998" y="429"/>
                    <a:pt x="998" y="430"/>
                  </a:cubicBezTo>
                  <a:lnTo>
                    <a:pt x="1008" y="536"/>
                  </a:lnTo>
                  <a:cubicBezTo>
                    <a:pt x="1008" y="536"/>
                    <a:pt x="1008" y="537"/>
                    <a:pt x="1008" y="537"/>
                  </a:cubicBezTo>
                  <a:lnTo>
                    <a:pt x="998" y="644"/>
                  </a:lnTo>
                  <a:cubicBezTo>
                    <a:pt x="998" y="645"/>
                    <a:pt x="998" y="645"/>
                    <a:pt x="998" y="646"/>
                  </a:cubicBezTo>
                  <a:lnTo>
                    <a:pt x="969" y="745"/>
                  </a:lnTo>
                  <a:cubicBezTo>
                    <a:pt x="969" y="745"/>
                    <a:pt x="969" y="746"/>
                    <a:pt x="969" y="746"/>
                  </a:cubicBezTo>
                  <a:lnTo>
                    <a:pt x="923" y="835"/>
                  </a:lnTo>
                  <a:cubicBezTo>
                    <a:pt x="922" y="836"/>
                    <a:pt x="922" y="836"/>
                    <a:pt x="922" y="836"/>
                  </a:cubicBezTo>
                  <a:lnTo>
                    <a:pt x="862" y="915"/>
                  </a:lnTo>
                  <a:cubicBezTo>
                    <a:pt x="862" y="916"/>
                    <a:pt x="861" y="916"/>
                    <a:pt x="861" y="917"/>
                  </a:cubicBezTo>
                  <a:lnTo>
                    <a:pt x="787" y="981"/>
                  </a:lnTo>
                  <a:cubicBezTo>
                    <a:pt x="786" y="981"/>
                    <a:pt x="786" y="981"/>
                    <a:pt x="786" y="981"/>
                  </a:cubicBezTo>
                  <a:lnTo>
                    <a:pt x="702" y="1030"/>
                  </a:lnTo>
                  <a:cubicBezTo>
                    <a:pt x="701" y="1031"/>
                    <a:pt x="700" y="1031"/>
                    <a:pt x="700" y="1031"/>
                  </a:cubicBezTo>
                  <a:lnTo>
                    <a:pt x="607" y="1061"/>
                  </a:lnTo>
                  <a:cubicBezTo>
                    <a:pt x="606" y="1061"/>
                    <a:pt x="606" y="1061"/>
                    <a:pt x="605" y="1061"/>
                  </a:cubicBezTo>
                  <a:lnTo>
                    <a:pt x="505" y="1072"/>
                  </a:lnTo>
                  <a:cubicBezTo>
                    <a:pt x="505" y="1072"/>
                    <a:pt x="504" y="1072"/>
                    <a:pt x="504" y="1072"/>
                  </a:cubicBezTo>
                  <a:lnTo>
                    <a:pt x="404" y="1061"/>
                  </a:lnTo>
                  <a:cubicBezTo>
                    <a:pt x="403" y="1061"/>
                    <a:pt x="403" y="1061"/>
                    <a:pt x="402" y="1061"/>
                  </a:cubicBezTo>
                  <a:lnTo>
                    <a:pt x="309" y="1031"/>
                  </a:lnTo>
                  <a:cubicBezTo>
                    <a:pt x="308" y="1031"/>
                    <a:pt x="308" y="1031"/>
                    <a:pt x="307" y="1030"/>
                  </a:cubicBezTo>
                  <a:lnTo>
                    <a:pt x="223" y="981"/>
                  </a:lnTo>
                  <a:cubicBezTo>
                    <a:pt x="223" y="981"/>
                    <a:pt x="223" y="981"/>
                    <a:pt x="222" y="980"/>
                  </a:cubicBezTo>
                  <a:lnTo>
                    <a:pt x="149" y="916"/>
                  </a:lnTo>
                  <a:cubicBezTo>
                    <a:pt x="149" y="916"/>
                    <a:pt x="148" y="916"/>
                    <a:pt x="148" y="915"/>
                  </a:cubicBezTo>
                  <a:lnTo>
                    <a:pt x="87" y="836"/>
                  </a:lnTo>
                  <a:cubicBezTo>
                    <a:pt x="87" y="836"/>
                    <a:pt x="87" y="836"/>
                    <a:pt x="86" y="835"/>
                  </a:cubicBezTo>
                  <a:lnTo>
                    <a:pt x="40" y="746"/>
                  </a:lnTo>
                  <a:cubicBezTo>
                    <a:pt x="40" y="746"/>
                    <a:pt x="40" y="745"/>
                    <a:pt x="40" y="745"/>
                  </a:cubicBezTo>
                  <a:lnTo>
                    <a:pt x="11" y="646"/>
                  </a:lnTo>
                  <a:cubicBezTo>
                    <a:pt x="11" y="645"/>
                    <a:pt x="11" y="645"/>
                    <a:pt x="10" y="644"/>
                  </a:cubicBezTo>
                  <a:lnTo>
                    <a:pt x="0" y="537"/>
                  </a:lnTo>
                  <a:close/>
                  <a:moveTo>
                    <a:pt x="26" y="643"/>
                  </a:moveTo>
                  <a:lnTo>
                    <a:pt x="26" y="641"/>
                  </a:lnTo>
                  <a:lnTo>
                    <a:pt x="55" y="740"/>
                  </a:lnTo>
                  <a:lnTo>
                    <a:pt x="55" y="739"/>
                  </a:lnTo>
                  <a:lnTo>
                    <a:pt x="101" y="828"/>
                  </a:lnTo>
                  <a:lnTo>
                    <a:pt x="100" y="827"/>
                  </a:lnTo>
                  <a:lnTo>
                    <a:pt x="161" y="906"/>
                  </a:lnTo>
                  <a:lnTo>
                    <a:pt x="160" y="904"/>
                  </a:lnTo>
                  <a:lnTo>
                    <a:pt x="233" y="968"/>
                  </a:lnTo>
                  <a:lnTo>
                    <a:pt x="232" y="968"/>
                  </a:lnTo>
                  <a:lnTo>
                    <a:pt x="316" y="1017"/>
                  </a:lnTo>
                  <a:lnTo>
                    <a:pt x="314" y="1016"/>
                  </a:lnTo>
                  <a:lnTo>
                    <a:pt x="407" y="1046"/>
                  </a:lnTo>
                  <a:lnTo>
                    <a:pt x="405" y="1046"/>
                  </a:lnTo>
                  <a:lnTo>
                    <a:pt x="505" y="1057"/>
                  </a:lnTo>
                  <a:lnTo>
                    <a:pt x="504" y="1057"/>
                  </a:lnTo>
                  <a:lnTo>
                    <a:pt x="604" y="1046"/>
                  </a:lnTo>
                  <a:lnTo>
                    <a:pt x="602" y="1046"/>
                  </a:lnTo>
                  <a:lnTo>
                    <a:pt x="695" y="1016"/>
                  </a:lnTo>
                  <a:lnTo>
                    <a:pt x="693" y="1017"/>
                  </a:lnTo>
                  <a:lnTo>
                    <a:pt x="777" y="968"/>
                  </a:lnTo>
                  <a:lnTo>
                    <a:pt x="776" y="968"/>
                  </a:lnTo>
                  <a:lnTo>
                    <a:pt x="850" y="904"/>
                  </a:lnTo>
                  <a:lnTo>
                    <a:pt x="849" y="906"/>
                  </a:lnTo>
                  <a:lnTo>
                    <a:pt x="909" y="827"/>
                  </a:lnTo>
                  <a:lnTo>
                    <a:pt x="908" y="828"/>
                  </a:lnTo>
                  <a:lnTo>
                    <a:pt x="954" y="739"/>
                  </a:lnTo>
                  <a:lnTo>
                    <a:pt x="954" y="740"/>
                  </a:lnTo>
                  <a:lnTo>
                    <a:pt x="983" y="641"/>
                  </a:lnTo>
                  <a:lnTo>
                    <a:pt x="982" y="643"/>
                  </a:lnTo>
                  <a:lnTo>
                    <a:pt x="992" y="536"/>
                  </a:lnTo>
                  <a:lnTo>
                    <a:pt x="992" y="537"/>
                  </a:lnTo>
                  <a:lnTo>
                    <a:pt x="982" y="431"/>
                  </a:lnTo>
                  <a:lnTo>
                    <a:pt x="983" y="433"/>
                  </a:lnTo>
                  <a:lnTo>
                    <a:pt x="954" y="334"/>
                  </a:lnTo>
                  <a:lnTo>
                    <a:pt x="954" y="335"/>
                  </a:lnTo>
                  <a:lnTo>
                    <a:pt x="908" y="245"/>
                  </a:lnTo>
                  <a:lnTo>
                    <a:pt x="909" y="246"/>
                  </a:lnTo>
                  <a:lnTo>
                    <a:pt x="849" y="168"/>
                  </a:lnTo>
                  <a:lnTo>
                    <a:pt x="850" y="169"/>
                  </a:lnTo>
                  <a:lnTo>
                    <a:pt x="776" y="104"/>
                  </a:lnTo>
                  <a:lnTo>
                    <a:pt x="777" y="105"/>
                  </a:lnTo>
                  <a:lnTo>
                    <a:pt x="693" y="57"/>
                  </a:lnTo>
                  <a:lnTo>
                    <a:pt x="695" y="58"/>
                  </a:lnTo>
                  <a:lnTo>
                    <a:pt x="602" y="27"/>
                  </a:lnTo>
                  <a:lnTo>
                    <a:pt x="604" y="27"/>
                  </a:lnTo>
                  <a:lnTo>
                    <a:pt x="504" y="16"/>
                  </a:lnTo>
                  <a:lnTo>
                    <a:pt x="505" y="16"/>
                  </a:lnTo>
                  <a:lnTo>
                    <a:pt x="405" y="27"/>
                  </a:lnTo>
                  <a:lnTo>
                    <a:pt x="407" y="27"/>
                  </a:lnTo>
                  <a:lnTo>
                    <a:pt x="314" y="58"/>
                  </a:lnTo>
                  <a:lnTo>
                    <a:pt x="315" y="57"/>
                  </a:lnTo>
                  <a:lnTo>
                    <a:pt x="231" y="105"/>
                  </a:lnTo>
                  <a:lnTo>
                    <a:pt x="233" y="104"/>
                  </a:lnTo>
                  <a:lnTo>
                    <a:pt x="160" y="169"/>
                  </a:lnTo>
                  <a:lnTo>
                    <a:pt x="161" y="168"/>
                  </a:lnTo>
                  <a:lnTo>
                    <a:pt x="100" y="246"/>
                  </a:lnTo>
                  <a:lnTo>
                    <a:pt x="101" y="245"/>
                  </a:lnTo>
                  <a:lnTo>
                    <a:pt x="55" y="335"/>
                  </a:lnTo>
                  <a:lnTo>
                    <a:pt x="55" y="334"/>
                  </a:lnTo>
                  <a:lnTo>
                    <a:pt x="26" y="433"/>
                  </a:lnTo>
                  <a:lnTo>
                    <a:pt x="26" y="431"/>
                  </a:lnTo>
                  <a:lnTo>
                    <a:pt x="16" y="537"/>
                  </a:lnTo>
                  <a:lnTo>
                    <a:pt x="16" y="536"/>
                  </a:lnTo>
                  <a:lnTo>
                    <a:pt x="26" y="643"/>
                  </a:lnTo>
                  <a:close/>
                </a:path>
              </a:pathLst>
            </a:custGeom>
            <a:solidFill>
              <a:srgbClr val="000000"/>
            </a:solidFill>
            <a:ln w="0">
              <a:solidFill>
                <a:srgbClr val="000000"/>
              </a:solidFill>
              <a:round/>
              <a:headEnd/>
              <a:tailEnd/>
            </a:ln>
          </p:spPr>
          <p:txBody>
            <a:bodyPr/>
            <a:lstStyle/>
            <a:p>
              <a:endParaRPr lang="en-US"/>
            </a:p>
          </p:txBody>
        </p:sp>
        <p:sp>
          <p:nvSpPr>
            <p:cNvPr id="42065" name="Rectangle 58"/>
            <p:cNvSpPr>
              <a:spLocks noChangeArrowheads="1"/>
            </p:cNvSpPr>
            <p:nvPr/>
          </p:nvSpPr>
          <p:spPr bwMode="auto">
            <a:xfrm>
              <a:off x="1411" y="1411"/>
              <a:ext cx="122" cy="113"/>
            </a:xfrm>
            <a:prstGeom prst="rect">
              <a:avLst/>
            </a:prstGeom>
            <a:solidFill>
              <a:srgbClr val="FFFFCC"/>
            </a:solidFill>
            <a:ln w="9525">
              <a:noFill/>
              <a:miter lim="800000"/>
              <a:headEnd/>
              <a:tailEnd/>
            </a:ln>
          </p:spPr>
          <p:txBody>
            <a:bodyPr/>
            <a:lstStyle/>
            <a:p>
              <a:endParaRPr lang="en-US"/>
            </a:p>
          </p:txBody>
        </p:sp>
        <p:sp>
          <p:nvSpPr>
            <p:cNvPr id="42066" name="Rectangle 59"/>
            <p:cNvSpPr>
              <a:spLocks noChangeArrowheads="1"/>
            </p:cNvSpPr>
            <p:nvPr/>
          </p:nvSpPr>
          <p:spPr bwMode="auto">
            <a:xfrm>
              <a:off x="1413" y="1420"/>
              <a:ext cx="117" cy="108"/>
            </a:xfrm>
            <a:prstGeom prst="rect">
              <a:avLst/>
            </a:prstGeom>
            <a:noFill/>
            <a:ln w="9525">
              <a:noFill/>
              <a:miter lim="800000"/>
              <a:headEnd/>
              <a:tailEnd/>
            </a:ln>
          </p:spPr>
          <p:txBody>
            <a:bodyPr wrap="none" lIns="0" tIns="0" rIns="0" bIns="0">
              <a:spAutoFit/>
            </a:bodyPr>
            <a:lstStyle/>
            <a:p>
              <a:r>
                <a:rPr lang="en-US" sz="1000">
                  <a:solidFill>
                    <a:srgbClr val="000000"/>
                  </a:solidFill>
                </a:rPr>
                <a:t>IR</a:t>
              </a:r>
              <a:endParaRPr lang="en-US"/>
            </a:p>
          </p:txBody>
        </p:sp>
        <p:sp>
          <p:nvSpPr>
            <p:cNvPr id="42067" name="Freeform 60"/>
            <p:cNvSpPr>
              <a:spLocks/>
            </p:cNvSpPr>
            <p:nvPr/>
          </p:nvSpPr>
          <p:spPr bwMode="auto">
            <a:xfrm>
              <a:off x="2210" y="1328"/>
              <a:ext cx="284" cy="297"/>
            </a:xfrm>
            <a:custGeom>
              <a:avLst/>
              <a:gdLst>
                <a:gd name="T0" fmla="*/ 0 w 1008"/>
                <a:gd name="T1" fmla="*/ 12 h 1056"/>
                <a:gd name="T2" fmla="*/ 11 w 1008"/>
                <a:gd name="T3" fmla="*/ 0 h 1056"/>
                <a:gd name="T4" fmla="*/ 11 w 1008"/>
                <a:gd name="T5" fmla="*/ 0 h 1056"/>
                <a:gd name="T6" fmla="*/ 11 w 1008"/>
                <a:gd name="T7" fmla="*/ 0 h 1056"/>
                <a:gd name="T8" fmla="*/ 23 w 1008"/>
                <a:gd name="T9" fmla="*/ 12 h 1056"/>
                <a:gd name="T10" fmla="*/ 23 w 1008"/>
                <a:gd name="T11" fmla="*/ 12 h 1056"/>
                <a:gd name="T12" fmla="*/ 23 w 1008"/>
                <a:gd name="T13" fmla="*/ 12 h 1056"/>
                <a:gd name="T14" fmla="*/ 11 w 1008"/>
                <a:gd name="T15" fmla="*/ 24 h 1056"/>
                <a:gd name="T16" fmla="*/ 11 w 1008"/>
                <a:gd name="T17" fmla="*/ 24 h 1056"/>
                <a:gd name="T18" fmla="*/ 11 w 1008"/>
                <a:gd name="T19" fmla="*/ 24 h 1056"/>
                <a:gd name="T20" fmla="*/ 0 w 1008"/>
                <a:gd name="T21" fmla="*/ 12 h 1056"/>
                <a:gd name="T22" fmla="*/ 0 w 1008"/>
                <a:gd name="T23" fmla="*/ 12 h 105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8"/>
                <a:gd name="T37" fmla="*/ 0 h 1056"/>
                <a:gd name="T38" fmla="*/ 1008 w 1008"/>
                <a:gd name="T39" fmla="*/ 1056 h 105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8" h="1056">
                  <a:moveTo>
                    <a:pt x="0" y="528"/>
                  </a:moveTo>
                  <a:cubicBezTo>
                    <a:pt x="0" y="237"/>
                    <a:pt x="226" y="0"/>
                    <a:pt x="504" y="0"/>
                  </a:cubicBezTo>
                  <a:cubicBezTo>
                    <a:pt x="504" y="0"/>
                    <a:pt x="504" y="0"/>
                    <a:pt x="504" y="0"/>
                  </a:cubicBezTo>
                  <a:cubicBezTo>
                    <a:pt x="783" y="0"/>
                    <a:pt x="1008" y="237"/>
                    <a:pt x="1008" y="528"/>
                  </a:cubicBezTo>
                  <a:cubicBezTo>
                    <a:pt x="1008" y="528"/>
                    <a:pt x="1008" y="528"/>
                    <a:pt x="1008" y="528"/>
                  </a:cubicBezTo>
                  <a:cubicBezTo>
                    <a:pt x="1008" y="820"/>
                    <a:pt x="783" y="1056"/>
                    <a:pt x="504" y="1056"/>
                  </a:cubicBezTo>
                  <a:cubicBezTo>
                    <a:pt x="504" y="1056"/>
                    <a:pt x="504" y="1056"/>
                    <a:pt x="504" y="1056"/>
                  </a:cubicBezTo>
                  <a:cubicBezTo>
                    <a:pt x="226" y="1056"/>
                    <a:pt x="0" y="820"/>
                    <a:pt x="0" y="528"/>
                  </a:cubicBezTo>
                  <a:cubicBezTo>
                    <a:pt x="0" y="528"/>
                    <a:pt x="0" y="528"/>
                    <a:pt x="0" y="528"/>
                  </a:cubicBezTo>
                  <a:close/>
                </a:path>
              </a:pathLst>
            </a:custGeom>
            <a:solidFill>
              <a:srgbClr val="FFCC99"/>
            </a:solidFill>
            <a:ln w="0">
              <a:solidFill>
                <a:srgbClr val="000000"/>
              </a:solidFill>
              <a:round/>
              <a:headEnd/>
              <a:tailEnd/>
            </a:ln>
          </p:spPr>
          <p:txBody>
            <a:bodyPr/>
            <a:lstStyle/>
            <a:p>
              <a:endParaRPr lang="en-US"/>
            </a:p>
          </p:txBody>
        </p:sp>
        <p:sp>
          <p:nvSpPr>
            <p:cNvPr id="42068" name="Freeform 61"/>
            <p:cNvSpPr>
              <a:spLocks noEditPoints="1"/>
            </p:cNvSpPr>
            <p:nvPr/>
          </p:nvSpPr>
          <p:spPr bwMode="auto">
            <a:xfrm>
              <a:off x="2208" y="1325"/>
              <a:ext cx="288" cy="302"/>
            </a:xfrm>
            <a:custGeom>
              <a:avLst/>
              <a:gdLst>
                <a:gd name="T0" fmla="*/ 0 w 1024"/>
                <a:gd name="T1" fmla="*/ 10 h 1072"/>
                <a:gd name="T2" fmla="*/ 1 w 1024"/>
                <a:gd name="T3" fmla="*/ 7 h 1072"/>
                <a:gd name="T4" fmla="*/ 3 w 1024"/>
                <a:gd name="T5" fmla="*/ 4 h 1072"/>
                <a:gd name="T6" fmla="*/ 5 w 1024"/>
                <a:gd name="T7" fmla="*/ 2 h 1072"/>
                <a:gd name="T8" fmla="*/ 9 w 1024"/>
                <a:gd name="T9" fmla="*/ 0 h 1072"/>
                <a:gd name="T10" fmla="*/ 11 w 1024"/>
                <a:gd name="T11" fmla="*/ 0 h 1072"/>
                <a:gd name="T12" fmla="*/ 16 w 1024"/>
                <a:gd name="T13" fmla="*/ 1 h 1072"/>
                <a:gd name="T14" fmla="*/ 18 w 1024"/>
                <a:gd name="T15" fmla="*/ 2 h 1072"/>
                <a:gd name="T16" fmla="*/ 21 w 1024"/>
                <a:gd name="T17" fmla="*/ 5 h 1072"/>
                <a:gd name="T18" fmla="*/ 22 w 1024"/>
                <a:gd name="T19" fmla="*/ 7 h 1072"/>
                <a:gd name="T20" fmla="*/ 23 w 1024"/>
                <a:gd name="T21" fmla="*/ 12 h 1072"/>
                <a:gd name="T22" fmla="*/ 22 w 1024"/>
                <a:gd name="T23" fmla="*/ 14 h 1072"/>
                <a:gd name="T24" fmla="*/ 21 w 1024"/>
                <a:gd name="T25" fmla="*/ 19 h 1072"/>
                <a:gd name="T26" fmla="*/ 19 w 1024"/>
                <a:gd name="T27" fmla="*/ 21 h 1072"/>
                <a:gd name="T28" fmla="*/ 16 w 1024"/>
                <a:gd name="T29" fmla="*/ 23 h 1072"/>
                <a:gd name="T30" fmla="*/ 14 w 1024"/>
                <a:gd name="T31" fmla="*/ 24 h 1072"/>
                <a:gd name="T32" fmla="*/ 9 w 1024"/>
                <a:gd name="T33" fmla="*/ 24 h 1072"/>
                <a:gd name="T34" fmla="*/ 7 w 1024"/>
                <a:gd name="T35" fmla="*/ 23 h 1072"/>
                <a:gd name="T36" fmla="*/ 3 w 1024"/>
                <a:gd name="T37" fmla="*/ 21 h 1072"/>
                <a:gd name="T38" fmla="*/ 2 w 1024"/>
                <a:gd name="T39" fmla="*/ 19 h 1072"/>
                <a:gd name="T40" fmla="*/ 0 w 1024"/>
                <a:gd name="T41" fmla="*/ 14 h 1072"/>
                <a:gd name="T42" fmla="*/ 1 w 1024"/>
                <a:gd name="T43" fmla="*/ 14 h 1072"/>
                <a:gd name="T44" fmla="*/ 1 w 1024"/>
                <a:gd name="T45" fmla="*/ 17 h 1072"/>
                <a:gd name="T46" fmla="*/ 4 w 1024"/>
                <a:gd name="T47" fmla="*/ 20 h 1072"/>
                <a:gd name="T48" fmla="*/ 5 w 1024"/>
                <a:gd name="T49" fmla="*/ 22 h 1072"/>
                <a:gd name="T50" fmla="*/ 9 w 1024"/>
                <a:gd name="T51" fmla="*/ 23 h 1072"/>
                <a:gd name="T52" fmla="*/ 11 w 1024"/>
                <a:gd name="T53" fmla="*/ 24 h 1072"/>
                <a:gd name="T54" fmla="*/ 16 w 1024"/>
                <a:gd name="T55" fmla="*/ 23 h 1072"/>
                <a:gd name="T56" fmla="*/ 17 w 1024"/>
                <a:gd name="T57" fmla="*/ 22 h 1072"/>
                <a:gd name="T58" fmla="*/ 21 w 1024"/>
                <a:gd name="T59" fmla="*/ 19 h 1072"/>
                <a:gd name="T60" fmla="*/ 22 w 1024"/>
                <a:gd name="T61" fmla="*/ 17 h 1072"/>
                <a:gd name="T62" fmla="*/ 22 w 1024"/>
                <a:gd name="T63" fmla="*/ 12 h 1072"/>
                <a:gd name="T64" fmla="*/ 22 w 1024"/>
                <a:gd name="T65" fmla="*/ 10 h 1072"/>
                <a:gd name="T66" fmla="*/ 21 w 1024"/>
                <a:gd name="T67" fmla="*/ 5 h 1072"/>
                <a:gd name="T68" fmla="*/ 19 w 1024"/>
                <a:gd name="T69" fmla="*/ 4 h 1072"/>
                <a:gd name="T70" fmla="*/ 16 w 1024"/>
                <a:gd name="T71" fmla="*/ 1 h 1072"/>
                <a:gd name="T72" fmla="*/ 14 w 1024"/>
                <a:gd name="T73" fmla="*/ 1 h 1072"/>
                <a:gd name="T74" fmla="*/ 9 w 1024"/>
                <a:gd name="T75" fmla="*/ 1 h 1072"/>
                <a:gd name="T76" fmla="*/ 7 w 1024"/>
                <a:gd name="T77" fmla="*/ 1 h 1072"/>
                <a:gd name="T78" fmla="*/ 4 w 1024"/>
                <a:gd name="T79" fmla="*/ 4 h 1072"/>
                <a:gd name="T80" fmla="*/ 2 w 1024"/>
                <a:gd name="T81" fmla="*/ 5 h 1072"/>
                <a:gd name="T82" fmla="*/ 1 w 1024"/>
                <a:gd name="T83" fmla="*/ 10 h 1072"/>
                <a:gd name="T84" fmla="*/ 0 w 1024"/>
                <a:gd name="T85" fmla="*/ 12 h 107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24"/>
                <a:gd name="T130" fmla="*/ 0 h 1072"/>
                <a:gd name="T131" fmla="*/ 1024 w 1024"/>
                <a:gd name="T132" fmla="*/ 1072 h 107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24" h="1072">
                  <a:moveTo>
                    <a:pt x="0" y="537"/>
                  </a:moveTo>
                  <a:cubicBezTo>
                    <a:pt x="0" y="537"/>
                    <a:pt x="0" y="536"/>
                    <a:pt x="0" y="536"/>
                  </a:cubicBezTo>
                  <a:lnTo>
                    <a:pt x="10" y="430"/>
                  </a:lnTo>
                  <a:cubicBezTo>
                    <a:pt x="11" y="429"/>
                    <a:pt x="11" y="429"/>
                    <a:pt x="11" y="428"/>
                  </a:cubicBezTo>
                  <a:lnTo>
                    <a:pt x="41" y="329"/>
                  </a:lnTo>
                  <a:cubicBezTo>
                    <a:pt x="41" y="329"/>
                    <a:pt x="41" y="328"/>
                    <a:pt x="41" y="328"/>
                  </a:cubicBezTo>
                  <a:lnTo>
                    <a:pt x="87" y="238"/>
                  </a:lnTo>
                  <a:cubicBezTo>
                    <a:pt x="88" y="237"/>
                    <a:pt x="88" y="237"/>
                    <a:pt x="88" y="236"/>
                  </a:cubicBezTo>
                  <a:lnTo>
                    <a:pt x="150" y="158"/>
                  </a:lnTo>
                  <a:cubicBezTo>
                    <a:pt x="150" y="158"/>
                    <a:pt x="151" y="158"/>
                    <a:pt x="151" y="157"/>
                  </a:cubicBezTo>
                  <a:lnTo>
                    <a:pt x="225" y="92"/>
                  </a:lnTo>
                  <a:cubicBezTo>
                    <a:pt x="226" y="92"/>
                    <a:pt x="226" y="92"/>
                    <a:pt x="227" y="91"/>
                  </a:cubicBezTo>
                  <a:lnTo>
                    <a:pt x="313" y="43"/>
                  </a:lnTo>
                  <a:cubicBezTo>
                    <a:pt x="313" y="43"/>
                    <a:pt x="313" y="43"/>
                    <a:pt x="314" y="43"/>
                  </a:cubicBezTo>
                  <a:lnTo>
                    <a:pt x="409" y="12"/>
                  </a:lnTo>
                  <a:cubicBezTo>
                    <a:pt x="410" y="12"/>
                    <a:pt x="410" y="12"/>
                    <a:pt x="411" y="12"/>
                  </a:cubicBezTo>
                  <a:lnTo>
                    <a:pt x="512" y="1"/>
                  </a:lnTo>
                  <a:cubicBezTo>
                    <a:pt x="512" y="0"/>
                    <a:pt x="513" y="0"/>
                    <a:pt x="513" y="1"/>
                  </a:cubicBezTo>
                  <a:lnTo>
                    <a:pt x="615" y="12"/>
                  </a:lnTo>
                  <a:cubicBezTo>
                    <a:pt x="616" y="12"/>
                    <a:pt x="616" y="12"/>
                    <a:pt x="617" y="12"/>
                  </a:cubicBezTo>
                  <a:lnTo>
                    <a:pt x="711" y="43"/>
                  </a:lnTo>
                  <a:cubicBezTo>
                    <a:pt x="711" y="43"/>
                    <a:pt x="712" y="43"/>
                    <a:pt x="712" y="43"/>
                  </a:cubicBezTo>
                  <a:lnTo>
                    <a:pt x="798" y="91"/>
                  </a:lnTo>
                  <a:cubicBezTo>
                    <a:pt x="799" y="92"/>
                    <a:pt x="799" y="92"/>
                    <a:pt x="800" y="92"/>
                  </a:cubicBezTo>
                  <a:lnTo>
                    <a:pt x="875" y="157"/>
                  </a:lnTo>
                  <a:cubicBezTo>
                    <a:pt x="875" y="158"/>
                    <a:pt x="875" y="158"/>
                    <a:pt x="876" y="159"/>
                  </a:cubicBezTo>
                  <a:lnTo>
                    <a:pt x="937" y="237"/>
                  </a:lnTo>
                  <a:cubicBezTo>
                    <a:pt x="937" y="237"/>
                    <a:pt x="937" y="237"/>
                    <a:pt x="938" y="238"/>
                  </a:cubicBezTo>
                  <a:lnTo>
                    <a:pt x="984" y="328"/>
                  </a:lnTo>
                  <a:cubicBezTo>
                    <a:pt x="984" y="328"/>
                    <a:pt x="984" y="329"/>
                    <a:pt x="984" y="329"/>
                  </a:cubicBezTo>
                  <a:lnTo>
                    <a:pt x="1014" y="428"/>
                  </a:lnTo>
                  <a:cubicBezTo>
                    <a:pt x="1014" y="429"/>
                    <a:pt x="1014" y="429"/>
                    <a:pt x="1014" y="430"/>
                  </a:cubicBezTo>
                  <a:lnTo>
                    <a:pt x="1024" y="536"/>
                  </a:lnTo>
                  <a:cubicBezTo>
                    <a:pt x="1024" y="536"/>
                    <a:pt x="1024" y="537"/>
                    <a:pt x="1024" y="537"/>
                  </a:cubicBezTo>
                  <a:lnTo>
                    <a:pt x="1014" y="644"/>
                  </a:lnTo>
                  <a:cubicBezTo>
                    <a:pt x="1014" y="645"/>
                    <a:pt x="1014" y="645"/>
                    <a:pt x="1014" y="646"/>
                  </a:cubicBezTo>
                  <a:lnTo>
                    <a:pt x="984" y="745"/>
                  </a:lnTo>
                  <a:cubicBezTo>
                    <a:pt x="984" y="745"/>
                    <a:pt x="984" y="746"/>
                    <a:pt x="984" y="746"/>
                  </a:cubicBezTo>
                  <a:lnTo>
                    <a:pt x="938" y="835"/>
                  </a:lnTo>
                  <a:cubicBezTo>
                    <a:pt x="937" y="836"/>
                    <a:pt x="937" y="836"/>
                    <a:pt x="937" y="836"/>
                  </a:cubicBezTo>
                  <a:lnTo>
                    <a:pt x="876" y="915"/>
                  </a:lnTo>
                  <a:cubicBezTo>
                    <a:pt x="875" y="916"/>
                    <a:pt x="875" y="916"/>
                    <a:pt x="875" y="917"/>
                  </a:cubicBezTo>
                  <a:lnTo>
                    <a:pt x="800" y="981"/>
                  </a:lnTo>
                  <a:cubicBezTo>
                    <a:pt x="799" y="981"/>
                    <a:pt x="799" y="981"/>
                    <a:pt x="798" y="981"/>
                  </a:cubicBezTo>
                  <a:lnTo>
                    <a:pt x="712" y="1030"/>
                  </a:lnTo>
                  <a:cubicBezTo>
                    <a:pt x="712" y="1031"/>
                    <a:pt x="711" y="1031"/>
                    <a:pt x="711" y="1031"/>
                  </a:cubicBezTo>
                  <a:lnTo>
                    <a:pt x="617" y="1061"/>
                  </a:lnTo>
                  <a:cubicBezTo>
                    <a:pt x="616" y="1061"/>
                    <a:pt x="616" y="1061"/>
                    <a:pt x="615" y="1061"/>
                  </a:cubicBezTo>
                  <a:lnTo>
                    <a:pt x="513" y="1072"/>
                  </a:lnTo>
                  <a:cubicBezTo>
                    <a:pt x="513" y="1072"/>
                    <a:pt x="512" y="1072"/>
                    <a:pt x="512" y="1072"/>
                  </a:cubicBezTo>
                  <a:lnTo>
                    <a:pt x="411" y="1061"/>
                  </a:lnTo>
                  <a:cubicBezTo>
                    <a:pt x="410" y="1061"/>
                    <a:pt x="410" y="1061"/>
                    <a:pt x="409" y="1061"/>
                  </a:cubicBezTo>
                  <a:lnTo>
                    <a:pt x="314" y="1031"/>
                  </a:lnTo>
                  <a:cubicBezTo>
                    <a:pt x="314" y="1031"/>
                    <a:pt x="313" y="1031"/>
                    <a:pt x="313" y="1030"/>
                  </a:cubicBezTo>
                  <a:lnTo>
                    <a:pt x="227" y="981"/>
                  </a:lnTo>
                  <a:cubicBezTo>
                    <a:pt x="226" y="981"/>
                    <a:pt x="226" y="981"/>
                    <a:pt x="225" y="981"/>
                  </a:cubicBezTo>
                  <a:lnTo>
                    <a:pt x="151" y="917"/>
                  </a:lnTo>
                  <a:cubicBezTo>
                    <a:pt x="151" y="916"/>
                    <a:pt x="150" y="916"/>
                    <a:pt x="150" y="915"/>
                  </a:cubicBezTo>
                  <a:lnTo>
                    <a:pt x="88" y="836"/>
                  </a:lnTo>
                  <a:cubicBezTo>
                    <a:pt x="88" y="836"/>
                    <a:pt x="88" y="836"/>
                    <a:pt x="87" y="835"/>
                  </a:cubicBezTo>
                  <a:lnTo>
                    <a:pt x="41" y="746"/>
                  </a:lnTo>
                  <a:cubicBezTo>
                    <a:pt x="41" y="746"/>
                    <a:pt x="41" y="745"/>
                    <a:pt x="41" y="745"/>
                  </a:cubicBezTo>
                  <a:lnTo>
                    <a:pt x="11" y="646"/>
                  </a:lnTo>
                  <a:cubicBezTo>
                    <a:pt x="11" y="645"/>
                    <a:pt x="11" y="645"/>
                    <a:pt x="10" y="644"/>
                  </a:cubicBezTo>
                  <a:lnTo>
                    <a:pt x="0" y="537"/>
                  </a:lnTo>
                  <a:close/>
                  <a:moveTo>
                    <a:pt x="26" y="643"/>
                  </a:moveTo>
                  <a:lnTo>
                    <a:pt x="26" y="641"/>
                  </a:lnTo>
                  <a:lnTo>
                    <a:pt x="56" y="740"/>
                  </a:lnTo>
                  <a:lnTo>
                    <a:pt x="56" y="739"/>
                  </a:lnTo>
                  <a:lnTo>
                    <a:pt x="102" y="828"/>
                  </a:lnTo>
                  <a:lnTo>
                    <a:pt x="101" y="827"/>
                  </a:lnTo>
                  <a:lnTo>
                    <a:pt x="163" y="906"/>
                  </a:lnTo>
                  <a:lnTo>
                    <a:pt x="162" y="904"/>
                  </a:lnTo>
                  <a:lnTo>
                    <a:pt x="236" y="968"/>
                  </a:lnTo>
                  <a:lnTo>
                    <a:pt x="234" y="968"/>
                  </a:lnTo>
                  <a:lnTo>
                    <a:pt x="320" y="1017"/>
                  </a:lnTo>
                  <a:lnTo>
                    <a:pt x="319" y="1016"/>
                  </a:lnTo>
                  <a:lnTo>
                    <a:pt x="414" y="1046"/>
                  </a:lnTo>
                  <a:lnTo>
                    <a:pt x="412" y="1046"/>
                  </a:lnTo>
                  <a:lnTo>
                    <a:pt x="513" y="1057"/>
                  </a:lnTo>
                  <a:lnTo>
                    <a:pt x="512" y="1057"/>
                  </a:lnTo>
                  <a:lnTo>
                    <a:pt x="614" y="1046"/>
                  </a:lnTo>
                  <a:lnTo>
                    <a:pt x="612" y="1046"/>
                  </a:lnTo>
                  <a:lnTo>
                    <a:pt x="706" y="1016"/>
                  </a:lnTo>
                  <a:lnTo>
                    <a:pt x="705" y="1017"/>
                  </a:lnTo>
                  <a:lnTo>
                    <a:pt x="791" y="968"/>
                  </a:lnTo>
                  <a:lnTo>
                    <a:pt x="789" y="968"/>
                  </a:lnTo>
                  <a:lnTo>
                    <a:pt x="864" y="904"/>
                  </a:lnTo>
                  <a:lnTo>
                    <a:pt x="863" y="906"/>
                  </a:lnTo>
                  <a:lnTo>
                    <a:pt x="924" y="827"/>
                  </a:lnTo>
                  <a:lnTo>
                    <a:pt x="923" y="828"/>
                  </a:lnTo>
                  <a:lnTo>
                    <a:pt x="969" y="739"/>
                  </a:lnTo>
                  <a:lnTo>
                    <a:pt x="969" y="740"/>
                  </a:lnTo>
                  <a:lnTo>
                    <a:pt x="999" y="641"/>
                  </a:lnTo>
                  <a:lnTo>
                    <a:pt x="998" y="643"/>
                  </a:lnTo>
                  <a:lnTo>
                    <a:pt x="1008" y="536"/>
                  </a:lnTo>
                  <a:lnTo>
                    <a:pt x="1008" y="537"/>
                  </a:lnTo>
                  <a:lnTo>
                    <a:pt x="998" y="431"/>
                  </a:lnTo>
                  <a:lnTo>
                    <a:pt x="999" y="433"/>
                  </a:lnTo>
                  <a:lnTo>
                    <a:pt x="969" y="334"/>
                  </a:lnTo>
                  <a:lnTo>
                    <a:pt x="969" y="335"/>
                  </a:lnTo>
                  <a:lnTo>
                    <a:pt x="923" y="245"/>
                  </a:lnTo>
                  <a:lnTo>
                    <a:pt x="924" y="246"/>
                  </a:lnTo>
                  <a:lnTo>
                    <a:pt x="863" y="168"/>
                  </a:lnTo>
                  <a:lnTo>
                    <a:pt x="864" y="170"/>
                  </a:lnTo>
                  <a:lnTo>
                    <a:pt x="789" y="105"/>
                  </a:lnTo>
                  <a:lnTo>
                    <a:pt x="791" y="105"/>
                  </a:lnTo>
                  <a:lnTo>
                    <a:pt x="705" y="57"/>
                  </a:lnTo>
                  <a:lnTo>
                    <a:pt x="706" y="58"/>
                  </a:lnTo>
                  <a:lnTo>
                    <a:pt x="612" y="27"/>
                  </a:lnTo>
                  <a:lnTo>
                    <a:pt x="614" y="27"/>
                  </a:lnTo>
                  <a:lnTo>
                    <a:pt x="512" y="16"/>
                  </a:lnTo>
                  <a:lnTo>
                    <a:pt x="513" y="16"/>
                  </a:lnTo>
                  <a:lnTo>
                    <a:pt x="412" y="27"/>
                  </a:lnTo>
                  <a:lnTo>
                    <a:pt x="414" y="27"/>
                  </a:lnTo>
                  <a:lnTo>
                    <a:pt x="319" y="58"/>
                  </a:lnTo>
                  <a:lnTo>
                    <a:pt x="320" y="57"/>
                  </a:lnTo>
                  <a:lnTo>
                    <a:pt x="234" y="105"/>
                  </a:lnTo>
                  <a:lnTo>
                    <a:pt x="236" y="104"/>
                  </a:lnTo>
                  <a:lnTo>
                    <a:pt x="162" y="169"/>
                  </a:lnTo>
                  <a:lnTo>
                    <a:pt x="163" y="168"/>
                  </a:lnTo>
                  <a:lnTo>
                    <a:pt x="101" y="246"/>
                  </a:lnTo>
                  <a:lnTo>
                    <a:pt x="102" y="245"/>
                  </a:lnTo>
                  <a:lnTo>
                    <a:pt x="56" y="335"/>
                  </a:lnTo>
                  <a:lnTo>
                    <a:pt x="56" y="334"/>
                  </a:lnTo>
                  <a:lnTo>
                    <a:pt x="26" y="433"/>
                  </a:lnTo>
                  <a:lnTo>
                    <a:pt x="26" y="431"/>
                  </a:lnTo>
                  <a:lnTo>
                    <a:pt x="16" y="537"/>
                  </a:lnTo>
                  <a:lnTo>
                    <a:pt x="16" y="536"/>
                  </a:lnTo>
                  <a:lnTo>
                    <a:pt x="26" y="643"/>
                  </a:lnTo>
                  <a:close/>
                </a:path>
              </a:pathLst>
            </a:custGeom>
            <a:solidFill>
              <a:srgbClr val="000000"/>
            </a:solidFill>
            <a:ln w="0">
              <a:solidFill>
                <a:srgbClr val="000000"/>
              </a:solidFill>
              <a:round/>
              <a:headEnd/>
              <a:tailEnd/>
            </a:ln>
          </p:spPr>
          <p:txBody>
            <a:bodyPr/>
            <a:lstStyle/>
            <a:p>
              <a:endParaRPr lang="en-US"/>
            </a:p>
          </p:txBody>
        </p:sp>
        <p:sp>
          <p:nvSpPr>
            <p:cNvPr id="42069" name="Freeform 62"/>
            <p:cNvSpPr>
              <a:spLocks/>
            </p:cNvSpPr>
            <p:nvPr/>
          </p:nvSpPr>
          <p:spPr bwMode="auto">
            <a:xfrm>
              <a:off x="2210" y="1328"/>
              <a:ext cx="284" cy="297"/>
            </a:xfrm>
            <a:custGeom>
              <a:avLst/>
              <a:gdLst>
                <a:gd name="T0" fmla="*/ 0 w 1008"/>
                <a:gd name="T1" fmla="*/ 12 h 1056"/>
                <a:gd name="T2" fmla="*/ 11 w 1008"/>
                <a:gd name="T3" fmla="*/ 0 h 1056"/>
                <a:gd name="T4" fmla="*/ 11 w 1008"/>
                <a:gd name="T5" fmla="*/ 0 h 1056"/>
                <a:gd name="T6" fmla="*/ 11 w 1008"/>
                <a:gd name="T7" fmla="*/ 0 h 1056"/>
                <a:gd name="T8" fmla="*/ 23 w 1008"/>
                <a:gd name="T9" fmla="*/ 12 h 1056"/>
                <a:gd name="T10" fmla="*/ 23 w 1008"/>
                <a:gd name="T11" fmla="*/ 12 h 1056"/>
                <a:gd name="T12" fmla="*/ 23 w 1008"/>
                <a:gd name="T13" fmla="*/ 12 h 1056"/>
                <a:gd name="T14" fmla="*/ 11 w 1008"/>
                <a:gd name="T15" fmla="*/ 24 h 1056"/>
                <a:gd name="T16" fmla="*/ 11 w 1008"/>
                <a:gd name="T17" fmla="*/ 24 h 1056"/>
                <a:gd name="T18" fmla="*/ 11 w 1008"/>
                <a:gd name="T19" fmla="*/ 24 h 1056"/>
                <a:gd name="T20" fmla="*/ 0 w 1008"/>
                <a:gd name="T21" fmla="*/ 12 h 1056"/>
                <a:gd name="T22" fmla="*/ 0 w 1008"/>
                <a:gd name="T23" fmla="*/ 12 h 105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8"/>
                <a:gd name="T37" fmla="*/ 0 h 1056"/>
                <a:gd name="T38" fmla="*/ 1008 w 1008"/>
                <a:gd name="T39" fmla="*/ 1056 h 105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8" h="1056">
                  <a:moveTo>
                    <a:pt x="0" y="528"/>
                  </a:moveTo>
                  <a:cubicBezTo>
                    <a:pt x="0" y="237"/>
                    <a:pt x="226" y="0"/>
                    <a:pt x="504" y="0"/>
                  </a:cubicBezTo>
                  <a:cubicBezTo>
                    <a:pt x="504" y="0"/>
                    <a:pt x="504" y="0"/>
                    <a:pt x="504" y="0"/>
                  </a:cubicBezTo>
                  <a:cubicBezTo>
                    <a:pt x="783" y="0"/>
                    <a:pt x="1008" y="237"/>
                    <a:pt x="1008" y="528"/>
                  </a:cubicBezTo>
                  <a:cubicBezTo>
                    <a:pt x="1008" y="528"/>
                    <a:pt x="1008" y="528"/>
                    <a:pt x="1008" y="528"/>
                  </a:cubicBezTo>
                  <a:cubicBezTo>
                    <a:pt x="1008" y="820"/>
                    <a:pt x="783" y="1056"/>
                    <a:pt x="504" y="1056"/>
                  </a:cubicBezTo>
                  <a:cubicBezTo>
                    <a:pt x="504" y="1056"/>
                    <a:pt x="504" y="1056"/>
                    <a:pt x="504" y="1056"/>
                  </a:cubicBezTo>
                  <a:cubicBezTo>
                    <a:pt x="226" y="1056"/>
                    <a:pt x="0" y="820"/>
                    <a:pt x="0" y="528"/>
                  </a:cubicBezTo>
                  <a:cubicBezTo>
                    <a:pt x="0" y="528"/>
                    <a:pt x="0" y="528"/>
                    <a:pt x="0" y="528"/>
                  </a:cubicBezTo>
                  <a:close/>
                </a:path>
              </a:pathLst>
            </a:custGeom>
            <a:solidFill>
              <a:srgbClr val="FF0000"/>
            </a:solidFill>
            <a:ln w="0">
              <a:solidFill>
                <a:srgbClr val="000000"/>
              </a:solidFill>
              <a:round/>
              <a:headEnd/>
              <a:tailEnd/>
            </a:ln>
          </p:spPr>
          <p:txBody>
            <a:bodyPr/>
            <a:lstStyle/>
            <a:p>
              <a:endParaRPr lang="en-US"/>
            </a:p>
          </p:txBody>
        </p:sp>
        <p:sp>
          <p:nvSpPr>
            <p:cNvPr id="42070" name="Freeform 63"/>
            <p:cNvSpPr>
              <a:spLocks noEditPoints="1"/>
            </p:cNvSpPr>
            <p:nvPr/>
          </p:nvSpPr>
          <p:spPr bwMode="auto">
            <a:xfrm>
              <a:off x="2208" y="1325"/>
              <a:ext cx="288" cy="302"/>
            </a:xfrm>
            <a:custGeom>
              <a:avLst/>
              <a:gdLst>
                <a:gd name="T0" fmla="*/ 0 w 1024"/>
                <a:gd name="T1" fmla="*/ 10 h 1072"/>
                <a:gd name="T2" fmla="*/ 1 w 1024"/>
                <a:gd name="T3" fmla="*/ 7 h 1072"/>
                <a:gd name="T4" fmla="*/ 3 w 1024"/>
                <a:gd name="T5" fmla="*/ 4 h 1072"/>
                <a:gd name="T6" fmla="*/ 5 w 1024"/>
                <a:gd name="T7" fmla="*/ 2 h 1072"/>
                <a:gd name="T8" fmla="*/ 9 w 1024"/>
                <a:gd name="T9" fmla="*/ 0 h 1072"/>
                <a:gd name="T10" fmla="*/ 11 w 1024"/>
                <a:gd name="T11" fmla="*/ 0 h 1072"/>
                <a:gd name="T12" fmla="*/ 16 w 1024"/>
                <a:gd name="T13" fmla="*/ 1 h 1072"/>
                <a:gd name="T14" fmla="*/ 18 w 1024"/>
                <a:gd name="T15" fmla="*/ 2 h 1072"/>
                <a:gd name="T16" fmla="*/ 21 w 1024"/>
                <a:gd name="T17" fmla="*/ 5 h 1072"/>
                <a:gd name="T18" fmla="*/ 22 w 1024"/>
                <a:gd name="T19" fmla="*/ 7 h 1072"/>
                <a:gd name="T20" fmla="*/ 23 w 1024"/>
                <a:gd name="T21" fmla="*/ 12 h 1072"/>
                <a:gd name="T22" fmla="*/ 22 w 1024"/>
                <a:gd name="T23" fmla="*/ 14 h 1072"/>
                <a:gd name="T24" fmla="*/ 21 w 1024"/>
                <a:gd name="T25" fmla="*/ 19 h 1072"/>
                <a:gd name="T26" fmla="*/ 19 w 1024"/>
                <a:gd name="T27" fmla="*/ 21 h 1072"/>
                <a:gd name="T28" fmla="*/ 16 w 1024"/>
                <a:gd name="T29" fmla="*/ 23 h 1072"/>
                <a:gd name="T30" fmla="*/ 14 w 1024"/>
                <a:gd name="T31" fmla="*/ 24 h 1072"/>
                <a:gd name="T32" fmla="*/ 9 w 1024"/>
                <a:gd name="T33" fmla="*/ 24 h 1072"/>
                <a:gd name="T34" fmla="*/ 7 w 1024"/>
                <a:gd name="T35" fmla="*/ 23 h 1072"/>
                <a:gd name="T36" fmla="*/ 3 w 1024"/>
                <a:gd name="T37" fmla="*/ 21 h 1072"/>
                <a:gd name="T38" fmla="*/ 2 w 1024"/>
                <a:gd name="T39" fmla="*/ 19 h 1072"/>
                <a:gd name="T40" fmla="*/ 0 w 1024"/>
                <a:gd name="T41" fmla="*/ 14 h 1072"/>
                <a:gd name="T42" fmla="*/ 1 w 1024"/>
                <a:gd name="T43" fmla="*/ 14 h 1072"/>
                <a:gd name="T44" fmla="*/ 1 w 1024"/>
                <a:gd name="T45" fmla="*/ 17 h 1072"/>
                <a:gd name="T46" fmla="*/ 4 w 1024"/>
                <a:gd name="T47" fmla="*/ 20 h 1072"/>
                <a:gd name="T48" fmla="*/ 5 w 1024"/>
                <a:gd name="T49" fmla="*/ 22 h 1072"/>
                <a:gd name="T50" fmla="*/ 9 w 1024"/>
                <a:gd name="T51" fmla="*/ 23 h 1072"/>
                <a:gd name="T52" fmla="*/ 11 w 1024"/>
                <a:gd name="T53" fmla="*/ 24 h 1072"/>
                <a:gd name="T54" fmla="*/ 16 w 1024"/>
                <a:gd name="T55" fmla="*/ 23 h 1072"/>
                <a:gd name="T56" fmla="*/ 17 w 1024"/>
                <a:gd name="T57" fmla="*/ 22 h 1072"/>
                <a:gd name="T58" fmla="*/ 21 w 1024"/>
                <a:gd name="T59" fmla="*/ 19 h 1072"/>
                <a:gd name="T60" fmla="*/ 22 w 1024"/>
                <a:gd name="T61" fmla="*/ 17 h 1072"/>
                <a:gd name="T62" fmla="*/ 22 w 1024"/>
                <a:gd name="T63" fmla="*/ 12 h 1072"/>
                <a:gd name="T64" fmla="*/ 22 w 1024"/>
                <a:gd name="T65" fmla="*/ 10 h 1072"/>
                <a:gd name="T66" fmla="*/ 21 w 1024"/>
                <a:gd name="T67" fmla="*/ 5 h 1072"/>
                <a:gd name="T68" fmla="*/ 19 w 1024"/>
                <a:gd name="T69" fmla="*/ 4 h 1072"/>
                <a:gd name="T70" fmla="*/ 16 w 1024"/>
                <a:gd name="T71" fmla="*/ 1 h 1072"/>
                <a:gd name="T72" fmla="*/ 14 w 1024"/>
                <a:gd name="T73" fmla="*/ 1 h 1072"/>
                <a:gd name="T74" fmla="*/ 9 w 1024"/>
                <a:gd name="T75" fmla="*/ 1 h 1072"/>
                <a:gd name="T76" fmla="*/ 7 w 1024"/>
                <a:gd name="T77" fmla="*/ 1 h 1072"/>
                <a:gd name="T78" fmla="*/ 4 w 1024"/>
                <a:gd name="T79" fmla="*/ 4 h 1072"/>
                <a:gd name="T80" fmla="*/ 2 w 1024"/>
                <a:gd name="T81" fmla="*/ 5 h 1072"/>
                <a:gd name="T82" fmla="*/ 1 w 1024"/>
                <a:gd name="T83" fmla="*/ 10 h 1072"/>
                <a:gd name="T84" fmla="*/ 0 w 1024"/>
                <a:gd name="T85" fmla="*/ 12 h 107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24"/>
                <a:gd name="T130" fmla="*/ 0 h 1072"/>
                <a:gd name="T131" fmla="*/ 1024 w 1024"/>
                <a:gd name="T132" fmla="*/ 1072 h 107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24" h="1072">
                  <a:moveTo>
                    <a:pt x="0" y="537"/>
                  </a:moveTo>
                  <a:cubicBezTo>
                    <a:pt x="0" y="537"/>
                    <a:pt x="0" y="536"/>
                    <a:pt x="0" y="536"/>
                  </a:cubicBezTo>
                  <a:lnTo>
                    <a:pt x="10" y="430"/>
                  </a:lnTo>
                  <a:cubicBezTo>
                    <a:pt x="11" y="429"/>
                    <a:pt x="11" y="429"/>
                    <a:pt x="11" y="428"/>
                  </a:cubicBezTo>
                  <a:lnTo>
                    <a:pt x="41" y="329"/>
                  </a:lnTo>
                  <a:cubicBezTo>
                    <a:pt x="41" y="329"/>
                    <a:pt x="41" y="328"/>
                    <a:pt x="41" y="328"/>
                  </a:cubicBezTo>
                  <a:lnTo>
                    <a:pt x="87" y="238"/>
                  </a:lnTo>
                  <a:cubicBezTo>
                    <a:pt x="88" y="237"/>
                    <a:pt x="88" y="237"/>
                    <a:pt x="88" y="236"/>
                  </a:cubicBezTo>
                  <a:lnTo>
                    <a:pt x="150" y="158"/>
                  </a:lnTo>
                  <a:cubicBezTo>
                    <a:pt x="150" y="158"/>
                    <a:pt x="151" y="158"/>
                    <a:pt x="151" y="157"/>
                  </a:cubicBezTo>
                  <a:lnTo>
                    <a:pt x="225" y="92"/>
                  </a:lnTo>
                  <a:cubicBezTo>
                    <a:pt x="226" y="92"/>
                    <a:pt x="226" y="92"/>
                    <a:pt x="227" y="91"/>
                  </a:cubicBezTo>
                  <a:lnTo>
                    <a:pt x="313" y="43"/>
                  </a:lnTo>
                  <a:cubicBezTo>
                    <a:pt x="313" y="43"/>
                    <a:pt x="313" y="43"/>
                    <a:pt x="314" y="43"/>
                  </a:cubicBezTo>
                  <a:lnTo>
                    <a:pt x="409" y="12"/>
                  </a:lnTo>
                  <a:cubicBezTo>
                    <a:pt x="410" y="12"/>
                    <a:pt x="410" y="12"/>
                    <a:pt x="411" y="12"/>
                  </a:cubicBezTo>
                  <a:lnTo>
                    <a:pt x="512" y="1"/>
                  </a:lnTo>
                  <a:cubicBezTo>
                    <a:pt x="512" y="0"/>
                    <a:pt x="513" y="0"/>
                    <a:pt x="513" y="1"/>
                  </a:cubicBezTo>
                  <a:lnTo>
                    <a:pt x="615" y="12"/>
                  </a:lnTo>
                  <a:cubicBezTo>
                    <a:pt x="616" y="12"/>
                    <a:pt x="616" y="12"/>
                    <a:pt x="617" y="12"/>
                  </a:cubicBezTo>
                  <a:lnTo>
                    <a:pt x="711" y="43"/>
                  </a:lnTo>
                  <a:cubicBezTo>
                    <a:pt x="711" y="43"/>
                    <a:pt x="712" y="43"/>
                    <a:pt x="712" y="43"/>
                  </a:cubicBezTo>
                  <a:lnTo>
                    <a:pt x="798" y="91"/>
                  </a:lnTo>
                  <a:cubicBezTo>
                    <a:pt x="799" y="92"/>
                    <a:pt x="799" y="92"/>
                    <a:pt x="800" y="92"/>
                  </a:cubicBezTo>
                  <a:lnTo>
                    <a:pt x="875" y="157"/>
                  </a:lnTo>
                  <a:cubicBezTo>
                    <a:pt x="875" y="158"/>
                    <a:pt x="875" y="158"/>
                    <a:pt x="876" y="159"/>
                  </a:cubicBezTo>
                  <a:lnTo>
                    <a:pt x="937" y="237"/>
                  </a:lnTo>
                  <a:cubicBezTo>
                    <a:pt x="937" y="237"/>
                    <a:pt x="937" y="237"/>
                    <a:pt x="938" y="238"/>
                  </a:cubicBezTo>
                  <a:lnTo>
                    <a:pt x="984" y="328"/>
                  </a:lnTo>
                  <a:cubicBezTo>
                    <a:pt x="984" y="328"/>
                    <a:pt x="984" y="329"/>
                    <a:pt x="984" y="329"/>
                  </a:cubicBezTo>
                  <a:lnTo>
                    <a:pt x="1014" y="428"/>
                  </a:lnTo>
                  <a:cubicBezTo>
                    <a:pt x="1014" y="429"/>
                    <a:pt x="1014" y="429"/>
                    <a:pt x="1014" y="430"/>
                  </a:cubicBezTo>
                  <a:lnTo>
                    <a:pt x="1024" y="536"/>
                  </a:lnTo>
                  <a:cubicBezTo>
                    <a:pt x="1024" y="536"/>
                    <a:pt x="1024" y="537"/>
                    <a:pt x="1024" y="537"/>
                  </a:cubicBezTo>
                  <a:lnTo>
                    <a:pt x="1014" y="644"/>
                  </a:lnTo>
                  <a:cubicBezTo>
                    <a:pt x="1014" y="645"/>
                    <a:pt x="1014" y="645"/>
                    <a:pt x="1014" y="646"/>
                  </a:cubicBezTo>
                  <a:lnTo>
                    <a:pt x="984" y="745"/>
                  </a:lnTo>
                  <a:cubicBezTo>
                    <a:pt x="984" y="745"/>
                    <a:pt x="984" y="746"/>
                    <a:pt x="984" y="746"/>
                  </a:cubicBezTo>
                  <a:lnTo>
                    <a:pt x="938" y="835"/>
                  </a:lnTo>
                  <a:cubicBezTo>
                    <a:pt x="937" y="836"/>
                    <a:pt x="937" y="836"/>
                    <a:pt x="937" y="836"/>
                  </a:cubicBezTo>
                  <a:lnTo>
                    <a:pt x="876" y="915"/>
                  </a:lnTo>
                  <a:cubicBezTo>
                    <a:pt x="875" y="916"/>
                    <a:pt x="875" y="916"/>
                    <a:pt x="875" y="917"/>
                  </a:cubicBezTo>
                  <a:lnTo>
                    <a:pt x="800" y="981"/>
                  </a:lnTo>
                  <a:cubicBezTo>
                    <a:pt x="799" y="981"/>
                    <a:pt x="799" y="981"/>
                    <a:pt x="798" y="981"/>
                  </a:cubicBezTo>
                  <a:lnTo>
                    <a:pt x="712" y="1030"/>
                  </a:lnTo>
                  <a:cubicBezTo>
                    <a:pt x="712" y="1031"/>
                    <a:pt x="711" y="1031"/>
                    <a:pt x="711" y="1031"/>
                  </a:cubicBezTo>
                  <a:lnTo>
                    <a:pt x="617" y="1061"/>
                  </a:lnTo>
                  <a:cubicBezTo>
                    <a:pt x="616" y="1061"/>
                    <a:pt x="616" y="1061"/>
                    <a:pt x="615" y="1061"/>
                  </a:cubicBezTo>
                  <a:lnTo>
                    <a:pt x="513" y="1072"/>
                  </a:lnTo>
                  <a:cubicBezTo>
                    <a:pt x="513" y="1072"/>
                    <a:pt x="512" y="1072"/>
                    <a:pt x="512" y="1072"/>
                  </a:cubicBezTo>
                  <a:lnTo>
                    <a:pt x="411" y="1061"/>
                  </a:lnTo>
                  <a:cubicBezTo>
                    <a:pt x="410" y="1061"/>
                    <a:pt x="410" y="1061"/>
                    <a:pt x="409" y="1061"/>
                  </a:cubicBezTo>
                  <a:lnTo>
                    <a:pt x="314" y="1031"/>
                  </a:lnTo>
                  <a:cubicBezTo>
                    <a:pt x="314" y="1031"/>
                    <a:pt x="313" y="1031"/>
                    <a:pt x="313" y="1030"/>
                  </a:cubicBezTo>
                  <a:lnTo>
                    <a:pt x="227" y="981"/>
                  </a:lnTo>
                  <a:cubicBezTo>
                    <a:pt x="226" y="981"/>
                    <a:pt x="226" y="981"/>
                    <a:pt x="225" y="981"/>
                  </a:cubicBezTo>
                  <a:lnTo>
                    <a:pt x="151" y="917"/>
                  </a:lnTo>
                  <a:cubicBezTo>
                    <a:pt x="151" y="916"/>
                    <a:pt x="150" y="916"/>
                    <a:pt x="150" y="915"/>
                  </a:cubicBezTo>
                  <a:lnTo>
                    <a:pt x="88" y="836"/>
                  </a:lnTo>
                  <a:cubicBezTo>
                    <a:pt x="88" y="836"/>
                    <a:pt x="88" y="836"/>
                    <a:pt x="87" y="835"/>
                  </a:cubicBezTo>
                  <a:lnTo>
                    <a:pt x="41" y="746"/>
                  </a:lnTo>
                  <a:cubicBezTo>
                    <a:pt x="41" y="746"/>
                    <a:pt x="41" y="745"/>
                    <a:pt x="41" y="745"/>
                  </a:cubicBezTo>
                  <a:lnTo>
                    <a:pt x="11" y="646"/>
                  </a:lnTo>
                  <a:cubicBezTo>
                    <a:pt x="11" y="645"/>
                    <a:pt x="11" y="645"/>
                    <a:pt x="10" y="644"/>
                  </a:cubicBezTo>
                  <a:lnTo>
                    <a:pt x="0" y="537"/>
                  </a:lnTo>
                  <a:close/>
                  <a:moveTo>
                    <a:pt x="26" y="643"/>
                  </a:moveTo>
                  <a:lnTo>
                    <a:pt x="26" y="641"/>
                  </a:lnTo>
                  <a:lnTo>
                    <a:pt x="56" y="740"/>
                  </a:lnTo>
                  <a:lnTo>
                    <a:pt x="56" y="739"/>
                  </a:lnTo>
                  <a:lnTo>
                    <a:pt x="102" y="828"/>
                  </a:lnTo>
                  <a:lnTo>
                    <a:pt x="101" y="827"/>
                  </a:lnTo>
                  <a:lnTo>
                    <a:pt x="163" y="906"/>
                  </a:lnTo>
                  <a:lnTo>
                    <a:pt x="162" y="904"/>
                  </a:lnTo>
                  <a:lnTo>
                    <a:pt x="236" y="968"/>
                  </a:lnTo>
                  <a:lnTo>
                    <a:pt x="234" y="968"/>
                  </a:lnTo>
                  <a:lnTo>
                    <a:pt x="320" y="1017"/>
                  </a:lnTo>
                  <a:lnTo>
                    <a:pt x="319" y="1016"/>
                  </a:lnTo>
                  <a:lnTo>
                    <a:pt x="414" y="1046"/>
                  </a:lnTo>
                  <a:lnTo>
                    <a:pt x="412" y="1046"/>
                  </a:lnTo>
                  <a:lnTo>
                    <a:pt x="513" y="1057"/>
                  </a:lnTo>
                  <a:lnTo>
                    <a:pt x="512" y="1057"/>
                  </a:lnTo>
                  <a:lnTo>
                    <a:pt x="614" y="1046"/>
                  </a:lnTo>
                  <a:lnTo>
                    <a:pt x="612" y="1046"/>
                  </a:lnTo>
                  <a:lnTo>
                    <a:pt x="706" y="1016"/>
                  </a:lnTo>
                  <a:lnTo>
                    <a:pt x="705" y="1017"/>
                  </a:lnTo>
                  <a:lnTo>
                    <a:pt x="791" y="968"/>
                  </a:lnTo>
                  <a:lnTo>
                    <a:pt x="789" y="968"/>
                  </a:lnTo>
                  <a:lnTo>
                    <a:pt x="864" y="904"/>
                  </a:lnTo>
                  <a:lnTo>
                    <a:pt x="863" y="906"/>
                  </a:lnTo>
                  <a:lnTo>
                    <a:pt x="924" y="827"/>
                  </a:lnTo>
                  <a:lnTo>
                    <a:pt x="923" y="828"/>
                  </a:lnTo>
                  <a:lnTo>
                    <a:pt x="969" y="739"/>
                  </a:lnTo>
                  <a:lnTo>
                    <a:pt x="969" y="740"/>
                  </a:lnTo>
                  <a:lnTo>
                    <a:pt x="999" y="641"/>
                  </a:lnTo>
                  <a:lnTo>
                    <a:pt x="998" y="643"/>
                  </a:lnTo>
                  <a:lnTo>
                    <a:pt x="1008" y="536"/>
                  </a:lnTo>
                  <a:lnTo>
                    <a:pt x="1008" y="537"/>
                  </a:lnTo>
                  <a:lnTo>
                    <a:pt x="998" y="431"/>
                  </a:lnTo>
                  <a:lnTo>
                    <a:pt x="999" y="433"/>
                  </a:lnTo>
                  <a:lnTo>
                    <a:pt x="969" y="334"/>
                  </a:lnTo>
                  <a:lnTo>
                    <a:pt x="969" y="335"/>
                  </a:lnTo>
                  <a:lnTo>
                    <a:pt x="923" y="245"/>
                  </a:lnTo>
                  <a:lnTo>
                    <a:pt x="924" y="246"/>
                  </a:lnTo>
                  <a:lnTo>
                    <a:pt x="863" y="168"/>
                  </a:lnTo>
                  <a:lnTo>
                    <a:pt x="864" y="170"/>
                  </a:lnTo>
                  <a:lnTo>
                    <a:pt x="789" y="105"/>
                  </a:lnTo>
                  <a:lnTo>
                    <a:pt x="791" y="105"/>
                  </a:lnTo>
                  <a:lnTo>
                    <a:pt x="705" y="57"/>
                  </a:lnTo>
                  <a:lnTo>
                    <a:pt x="706" y="58"/>
                  </a:lnTo>
                  <a:lnTo>
                    <a:pt x="612" y="27"/>
                  </a:lnTo>
                  <a:lnTo>
                    <a:pt x="614" y="27"/>
                  </a:lnTo>
                  <a:lnTo>
                    <a:pt x="512" y="16"/>
                  </a:lnTo>
                  <a:lnTo>
                    <a:pt x="513" y="16"/>
                  </a:lnTo>
                  <a:lnTo>
                    <a:pt x="412" y="27"/>
                  </a:lnTo>
                  <a:lnTo>
                    <a:pt x="414" y="27"/>
                  </a:lnTo>
                  <a:lnTo>
                    <a:pt x="319" y="58"/>
                  </a:lnTo>
                  <a:lnTo>
                    <a:pt x="320" y="57"/>
                  </a:lnTo>
                  <a:lnTo>
                    <a:pt x="234" y="105"/>
                  </a:lnTo>
                  <a:lnTo>
                    <a:pt x="236" y="104"/>
                  </a:lnTo>
                  <a:lnTo>
                    <a:pt x="162" y="169"/>
                  </a:lnTo>
                  <a:lnTo>
                    <a:pt x="163" y="168"/>
                  </a:lnTo>
                  <a:lnTo>
                    <a:pt x="101" y="246"/>
                  </a:lnTo>
                  <a:lnTo>
                    <a:pt x="102" y="245"/>
                  </a:lnTo>
                  <a:lnTo>
                    <a:pt x="56" y="335"/>
                  </a:lnTo>
                  <a:lnTo>
                    <a:pt x="56" y="334"/>
                  </a:lnTo>
                  <a:lnTo>
                    <a:pt x="26" y="433"/>
                  </a:lnTo>
                  <a:lnTo>
                    <a:pt x="26" y="431"/>
                  </a:lnTo>
                  <a:lnTo>
                    <a:pt x="16" y="537"/>
                  </a:lnTo>
                  <a:lnTo>
                    <a:pt x="16" y="536"/>
                  </a:lnTo>
                  <a:lnTo>
                    <a:pt x="26" y="643"/>
                  </a:lnTo>
                  <a:close/>
                </a:path>
              </a:pathLst>
            </a:custGeom>
            <a:solidFill>
              <a:srgbClr val="000000"/>
            </a:solidFill>
            <a:ln w="0">
              <a:solidFill>
                <a:srgbClr val="000000"/>
              </a:solidFill>
              <a:round/>
              <a:headEnd/>
              <a:tailEnd/>
            </a:ln>
          </p:spPr>
          <p:txBody>
            <a:bodyPr/>
            <a:lstStyle/>
            <a:p>
              <a:endParaRPr lang="en-US"/>
            </a:p>
          </p:txBody>
        </p:sp>
        <p:sp>
          <p:nvSpPr>
            <p:cNvPr id="42071" name="Freeform 64"/>
            <p:cNvSpPr>
              <a:spLocks noEditPoints="1"/>
            </p:cNvSpPr>
            <p:nvPr/>
          </p:nvSpPr>
          <p:spPr bwMode="auto">
            <a:xfrm>
              <a:off x="2323" y="1476"/>
              <a:ext cx="171" cy="149"/>
            </a:xfrm>
            <a:custGeom>
              <a:avLst/>
              <a:gdLst>
                <a:gd name="T0" fmla="*/ 13 w 608"/>
                <a:gd name="T1" fmla="*/ 0 h 528"/>
                <a:gd name="T2" fmla="*/ 13 w 608"/>
                <a:gd name="T3" fmla="*/ 0 h 528"/>
                <a:gd name="T4" fmla="*/ 13 w 608"/>
                <a:gd name="T5" fmla="*/ 0 h 528"/>
                <a:gd name="T6" fmla="*/ 12 w 608"/>
                <a:gd name="T7" fmla="*/ 0 h 528"/>
                <a:gd name="T8" fmla="*/ 11 w 608"/>
                <a:gd name="T9" fmla="*/ 0 h 528"/>
                <a:gd name="T10" fmla="*/ 12 w 608"/>
                <a:gd name="T11" fmla="*/ 0 h 528"/>
                <a:gd name="T12" fmla="*/ 12 w 608"/>
                <a:gd name="T13" fmla="*/ 0 h 528"/>
                <a:gd name="T14" fmla="*/ 10 w 608"/>
                <a:gd name="T15" fmla="*/ 1 h 528"/>
                <a:gd name="T16" fmla="*/ 10 w 608"/>
                <a:gd name="T17" fmla="*/ 1 h 528"/>
                <a:gd name="T18" fmla="*/ 10 w 608"/>
                <a:gd name="T19" fmla="*/ 0 h 528"/>
                <a:gd name="T20" fmla="*/ 9 w 608"/>
                <a:gd name="T21" fmla="*/ 1 h 528"/>
                <a:gd name="T22" fmla="*/ 8 w 608"/>
                <a:gd name="T23" fmla="*/ 1 h 528"/>
                <a:gd name="T24" fmla="*/ 8 w 608"/>
                <a:gd name="T25" fmla="*/ 1 h 528"/>
                <a:gd name="T26" fmla="*/ 8 w 608"/>
                <a:gd name="T27" fmla="*/ 1 h 528"/>
                <a:gd name="T28" fmla="*/ 9 w 608"/>
                <a:gd name="T29" fmla="*/ 1 h 528"/>
                <a:gd name="T30" fmla="*/ 6 w 608"/>
                <a:gd name="T31" fmla="*/ 2 h 528"/>
                <a:gd name="T32" fmla="*/ 6 w 608"/>
                <a:gd name="T33" fmla="*/ 1 h 528"/>
                <a:gd name="T34" fmla="*/ 7 w 608"/>
                <a:gd name="T35" fmla="*/ 1 h 528"/>
                <a:gd name="T36" fmla="*/ 6 w 608"/>
                <a:gd name="T37" fmla="*/ 2 h 528"/>
                <a:gd name="T38" fmla="*/ 5 w 608"/>
                <a:gd name="T39" fmla="*/ 2 h 528"/>
                <a:gd name="T40" fmla="*/ 5 w 608"/>
                <a:gd name="T41" fmla="*/ 2 h 528"/>
                <a:gd name="T42" fmla="*/ 5 w 608"/>
                <a:gd name="T43" fmla="*/ 2 h 528"/>
                <a:gd name="T44" fmla="*/ 6 w 608"/>
                <a:gd name="T45" fmla="*/ 2 h 528"/>
                <a:gd name="T46" fmla="*/ 4 w 608"/>
                <a:gd name="T47" fmla="*/ 3 h 528"/>
                <a:gd name="T48" fmla="*/ 3 w 608"/>
                <a:gd name="T49" fmla="*/ 3 h 528"/>
                <a:gd name="T50" fmla="*/ 4 w 608"/>
                <a:gd name="T51" fmla="*/ 3 h 528"/>
                <a:gd name="T52" fmla="*/ 4 w 608"/>
                <a:gd name="T53" fmla="*/ 3 h 528"/>
                <a:gd name="T54" fmla="*/ 3 w 608"/>
                <a:gd name="T55" fmla="*/ 4 h 528"/>
                <a:gd name="T56" fmla="*/ 3 w 608"/>
                <a:gd name="T57" fmla="*/ 5 h 528"/>
                <a:gd name="T58" fmla="*/ 2 w 608"/>
                <a:gd name="T59" fmla="*/ 4 h 528"/>
                <a:gd name="T60" fmla="*/ 3 w 608"/>
                <a:gd name="T61" fmla="*/ 4 h 528"/>
                <a:gd name="T62" fmla="*/ 3 w 608"/>
                <a:gd name="T63" fmla="*/ 4 h 528"/>
                <a:gd name="T64" fmla="*/ 2 w 608"/>
                <a:gd name="T65" fmla="*/ 5 h 528"/>
                <a:gd name="T66" fmla="*/ 1 w 608"/>
                <a:gd name="T67" fmla="*/ 6 h 528"/>
                <a:gd name="T68" fmla="*/ 1 w 608"/>
                <a:gd name="T69" fmla="*/ 6 h 528"/>
                <a:gd name="T70" fmla="*/ 2 w 608"/>
                <a:gd name="T71" fmla="*/ 5 h 528"/>
                <a:gd name="T72" fmla="*/ 2 w 608"/>
                <a:gd name="T73" fmla="*/ 5 h 528"/>
                <a:gd name="T74" fmla="*/ 1 w 608"/>
                <a:gd name="T75" fmla="*/ 6 h 528"/>
                <a:gd name="T76" fmla="*/ 1 w 608"/>
                <a:gd name="T77" fmla="*/ 7 h 528"/>
                <a:gd name="T78" fmla="*/ 1 w 608"/>
                <a:gd name="T79" fmla="*/ 7 h 528"/>
                <a:gd name="T80" fmla="*/ 1 w 608"/>
                <a:gd name="T81" fmla="*/ 6 h 528"/>
                <a:gd name="T82" fmla="*/ 1 w 608"/>
                <a:gd name="T83" fmla="*/ 6 h 528"/>
                <a:gd name="T84" fmla="*/ 0 w 608"/>
                <a:gd name="T85" fmla="*/ 8 h 528"/>
                <a:gd name="T86" fmla="*/ 0 w 608"/>
                <a:gd name="T87" fmla="*/ 9 h 528"/>
                <a:gd name="T88" fmla="*/ 0 w 608"/>
                <a:gd name="T89" fmla="*/ 9 h 528"/>
                <a:gd name="T90" fmla="*/ 0 w 608"/>
                <a:gd name="T91" fmla="*/ 8 h 528"/>
                <a:gd name="T92" fmla="*/ 0 w 608"/>
                <a:gd name="T93" fmla="*/ 8 h 528"/>
                <a:gd name="T94" fmla="*/ 0 w 608"/>
                <a:gd name="T95" fmla="*/ 10 h 528"/>
                <a:gd name="T96" fmla="*/ 0 w 608"/>
                <a:gd name="T97" fmla="*/ 10 h 528"/>
                <a:gd name="T98" fmla="*/ 0 w 608"/>
                <a:gd name="T99" fmla="*/ 10 h 528"/>
                <a:gd name="T100" fmla="*/ 0 w 608"/>
                <a:gd name="T101" fmla="*/ 10 h 528"/>
                <a:gd name="T102" fmla="*/ 0 w 608"/>
                <a:gd name="T103" fmla="*/ 10 h 528"/>
                <a:gd name="T104" fmla="*/ 1 w 608"/>
                <a:gd name="T105" fmla="*/ 12 h 528"/>
                <a:gd name="T106" fmla="*/ 0 w 608"/>
                <a:gd name="T107" fmla="*/ 12 h 528"/>
                <a:gd name="T108" fmla="*/ 0 w 608"/>
                <a:gd name="T109" fmla="*/ 11 h 5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08"/>
                <a:gd name="T166" fmla="*/ 0 h 528"/>
                <a:gd name="T167" fmla="*/ 608 w 608"/>
                <a:gd name="T168" fmla="*/ 528 h 5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08" h="528">
                  <a:moveTo>
                    <a:pt x="603" y="11"/>
                  </a:moveTo>
                  <a:lnTo>
                    <a:pt x="572" y="12"/>
                  </a:lnTo>
                  <a:cubicBezTo>
                    <a:pt x="569" y="12"/>
                    <a:pt x="567" y="10"/>
                    <a:pt x="567" y="7"/>
                  </a:cubicBezTo>
                  <a:cubicBezTo>
                    <a:pt x="566" y="4"/>
                    <a:pt x="569" y="2"/>
                    <a:pt x="572" y="2"/>
                  </a:cubicBezTo>
                  <a:lnTo>
                    <a:pt x="603" y="0"/>
                  </a:lnTo>
                  <a:cubicBezTo>
                    <a:pt x="606" y="0"/>
                    <a:pt x="608" y="3"/>
                    <a:pt x="608" y="6"/>
                  </a:cubicBezTo>
                  <a:cubicBezTo>
                    <a:pt x="608" y="9"/>
                    <a:pt x="606" y="11"/>
                    <a:pt x="603" y="11"/>
                  </a:cubicBezTo>
                  <a:close/>
                  <a:moveTo>
                    <a:pt x="531" y="15"/>
                  </a:moveTo>
                  <a:lnTo>
                    <a:pt x="499" y="18"/>
                  </a:lnTo>
                  <a:cubicBezTo>
                    <a:pt x="496" y="18"/>
                    <a:pt x="494" y="16"/>
                    <a:pt x="493" y="13"/>
                  </a:cubicBezTo>
                  <a:cubicBezTo>
                    <a:pt x="493" y="10"/>
                    <a:pt x="495" y="8"/>
                    <a:pt x="498" y="7"/>
                  </a:cubicBezTo>
                  <a:lnTo>
                    <a:pt x="529" y="4"/>
                  </a:lnTo>
                  <a:cubicBezTo>
                    <a:pt x="532" y="4"/>
                    <a:pt x="535" y="6"/>
                    <a:pt x="535" y="9"/>
                  </a:cubicBezTo>
                  <a:cubicBezTo>
                    <a:pt x="535" y="12"/>
                    <a:pt x="533" y="14"/>
                    <a:pt x="531" y="15"/>
                  </a:cubicBezTo>
                  <a:close/>
                  <a:moveTo>
                    <a:pt x="458" y="24"/>
                  </a:moveTo>
                  <a:lnTo>
                    <a:pt x="427" y="30"/>
                  </a:lnTo>
                  <a:cubicBezTo>
                    <a:pt x="424" y="31"/>
                    <a:pt x="422" y="29"/>
                    <a:pt x="421" y="26"/>
                  </a:cubicBezTo>
                  <a:cubicBezTo>
                    <a:pt x="421" y="23"/>
                    <a:pt x="423" y="20"/>
                    <a:pt x="425" y="20"/>
                  </a:cubicBezTo>
                  <a:lnTo>
                    <a:pt x="456" y="14"/>
                  </a:lnTo>
                  <a:cubicBezTo>
                    <a:pt x="459" y="13"/>
                    <a:pt x="462" y="15"/>
                    <a:pt x="462" y="18"/>
                  </a:cubicBezTo>
                  <a:cubicBezTo>
                    <a:pt x="463" y="21"/>
                    <a:pt x="461" y="24"/>
                    <a:pt x="458" y="24"/>
                  </a:cubicBezTo>
                  <a:close/>
                  <a:moveTo>
                    <a:pt x="387" y="40"/>
                  </a:moveTo>
                  <a:lnTo>
                    <a:pt x="372" y="44"/>
                  </a:lnTo>
                  <a:lnTo>
                    <a:pt x="357" y="49"/>
                  </a:lnTo>
                  <a:cubicBezTo>
                    <a:pt x="354" y="50"/>
                    <a:pt x="352" y="49"/>
                    <a:pt x="351" y="46"/>
                  </a:cubicBezTo>
                  <a:cubicBezTo>
                    <a:pt x="350" y="43"/>
                    <a:pt x="351" y="40"/>
                    <a:pt x="354" y="39"/>
                  </a:cubicBezTo>
                  <a:lnTo>
                    <a:pt x="369" y="34"/>
                  </a:lnTo>
                  <a:lnTo>
                    <a:pt x="384" y="30"/>
                  </a:lnTo>
                  <a:cubicBezTo>
                    <a:pt x="387" y="29"/>
                    <a:pt x="390" y="31"/>
                    <a:pt x="391" y="34"/>
                  </a:cubicBezTo>
                  <a:cubicBezTo>
                    <a:pt x="391" y="37"/>
                    <a:pt x="390" y="40"/>
                    <a:pt x="387" y="40"/>
                  </a:cubicBezTo>
                  <a:close/>
                  <a:moveTo>
                    <a:pt x="318" y="63"/>
                  </a:moveTo>
                  <a:lnTo>
                    <a:pt x="289" y="75"/>
                  </a:lnTo>
                  <a:cubicBezTo>
                    <a:pt x="286" y="77"/>
                    <a:pt x="283" y="75"/>
                    <a:pt x="282" y="73"/>
                  </a:cubicBezTo>
                  <a:cubicBezTo>
                    <a:pt x="281" y="70"/>
                    <a:pt x="282" y="67"/>
                    <a:pt x="285" y="66"/>
                  </a:cubicBezTo>
                  <a:lnTo>
                    <a:pt x="314" y="53"/>
                  </a:lnTo>
                  <a:cubicBezTo>
                    <a:pt x="317" y="52"/>
                    <a:pt x="320" y="53"/>
                    <a:pt x="321" y="56"/>
                  </a:cubicBezTo>
                  <a:cubicBezTo>
                    <a:pt x="322" y="59"/>
                    <a:pt x="321" y="62"/>
                    <a:pt x="318" y="63"/>
                  </a:cubicBezTo>
                  <a:close/>
                  <a:moveTo>
                    <a:pt x="252" y="94"/>
                  </a:moveTo>
                  <a:lnTo>
                    <a:pt x="226" y="107"/>
                  </a:lnTo>
                  <a:lnTo>
                    <a:pt x="224" y="108"/>
                  </a:lnTo>
                  <a:cubicBezTo>
                    <a:pt x="222" y="110"/>
                    <a:pt x="219" y="109"/>
                    <a:pt x="217" y="107"/>
                  </a:cubicBezTo>
                  <a:cubicBezTo>
                    <a:pt x="216" y="104"/>
                    <a:pt x="216" y="101"/>
                    <a:pt x="219" y="99"/>
                  </a:cubicBezTo>
                  <a:lnTo>
                    <a:pt x="221" y="98"/>
                  </a:lnTo>
                  <a:lnTo>
                    <a:pt x="247" y="84"/>
                  </a:lnTo>
                  <a:cubicBezTo>
                    <a:pt x="249" y="83"/>
                    <a:pt x="253" y="84"/>
                    <a:pt x="254" y="86"/>
                  </a:cubicBezTo>
                  <a:cubicBezTo>
                    <a:pt x="255" y="89"/>
                    <a:pt x="254" y="92"/>
                    <a:pt x="252" y="94"/>
                  </a:cubicBezTo>
                  <a:close/>
                  <a:moveTo>
                    <a:pt x="189" y="131"/>
                  </a:moveTo>
                  <a:lnTo>
                    <a:pt x="184" y="134"/>
                  </a:lnTo>
                  <a:lnTo>
                    <a:pt x="164" y="150"/>
                  </a:lnTo>
                  <a:cubicBezTo>
                    <a:pt x="162" y="151"/>
                    <a:pt x="158" y="151"/>
                    <a:pt x="157" y="149"/>
                  </a:cubicBezTo>
                  <a:cubicBezTo>
                    <a:pt x="155" y="146"/>
                    <a:pt x="155" y="143"/>
                    <a:pt x="158" y="141"/>
                  </a:cubicBezTo>
                  <a:lnTo>
                    <a:pt x="178" y="125"/>
                  </a:lnTo>
                  <a:lnTo>
                    <a:pt x="183" y="122"/>
                  </a:lnTo>
                  <a:cubicBezTo>
                    <a:pt x="186" y="121"/>
                    <a:pt x="189" y="121"/>
                    <a:pt x="191" y="124"/>
                  </a:cubicBezTo>
                  <a:cubicBezTo>
                    <a:pt x="192" y="126"/>
                    <a:pt x="191" y="129"/>
                    <a:pt x="189" y="131"/>
                  </a:cubicBezTo>
                  <a:close/>
                  <a:moveTo>
                    <a:pt x="133" y="177"/>
                  </a:moveTo>
                  <a:lnTo>
                    <a:pt x="112" y="197"/>
                  </a:lnTo>
                  <a:lnTo>
                    <a:pt x="110" y="198"/>
                  </a:lnTo>
                  <a:cubicBezTo>
                    <a:pt x="108" y="200"/>
                    <a:pt x="105" y="201"/>
                    <a:pt x="103" y="199"/>
                  </a:cubicBezTo>
                  <a:cubicBezTo>
                    <a:pt x="101" y="197"/>
                    <a:pt x="100" y="193"/>
                    <a:pt x="102" y="191"/>
                  </a:cubicBezTo>
                  <a:lnTo>
                    <a:pt x="104" y="189"/>
                  </a:lnTo>
                  <a:lnTo>
                    <a:pt x="125" y="169"/>
                  </a:lnTo>
                  <a:cubicBezTo>
                    <a:pt x="127" y="167"/>
                    <a:pt x="131" y="167"/>
                    <a:pt x="133" y="169"/>
                  </a:cubicBezTo>
                  <a:cubicBezTo>
                    <a:pt x="135" y="171"/>
                    <a:pt x="135" y="174"/>
                    <a:pt x="133" y="177"/>
                  </a:cubicBezTo>
                  <a:close/>
                  <a:moveTo>
                    <a:pt x="83" y="230"/>
                  </a:moveTo>
                  <a:lnTo>
                    <a:pt x="82" y="231"/>
                  </a:lnTo>
                  <a:lnTo>
                    <a:pt x="69" y="249"/>
                  </a:lnTo>
                  <a:lnTo>
                    <a:pt x="65" y="255"/>
                  </a:lnTo>
                  <a:cubicBezTo>
                    <a:pt x="63" y="258"/>
                    <a:pt x="60" y="259"/>
                    <a:pt x="58" y="257"/>
                  </a:cubicBezTo>
                  <a:cubicBezTo>
                    <a:pt x="55" y="255"/>
                    <a:pt x="55" y="252"/>
                    <a:pt x="56" y="250"/>
                  </a:cubicBezTo>
                  <a:lnTo>
                    <a:pt x="60" y="243"/>
                  </a:lnTo>
                  <a:lnTo>
                    <a:pt x="74" y="224"/>
                  </a:lnTo>
                  <a:lnTo>
                    <a:pt x="75" y="223"/>
                  </a:lnTo>
                  <a:cubicBezTo>
                    <a:pt x="77" y="221"/>
                    <a:pt x="80" y="221"/>
                    <a:pt x="82" y="223"/>
                  </a:cubicBezTo>
                  <a:cubicBezTo>
                    <a:pt x="85" y="225"/>
                    <a:pt x="85" y="228"/>
                    <a:pt x="83" y="230"/>
                  </a:cubicBezTo>
                  <a:close/>
                  <a:moveTo>
                    <a:pt x="44" y="292"/>
                  </a:moveTo>
                  <a:lnTo>
                    <a:pt x="37" y="306"/>
                  </a:lnTo>
                  <a:lnTo>
                    <a:pt x="32" y="320"/>
                  </a:lnTo>
                  <a:cubicBezTo>
                    <a:pt x="31" y="323"/>
                    <a:pt x="28" y="324"/>
                    <a:pt x="25" y="323"/>
                  </a:cubicBezTo>
                  <a:cubicBezTo>
                    <a:pt x="22" y="322"/>
                    <a:pt x="21" y="319"/>
                    <a:pt x="22" y="316"/>
                  </a:cubicBezTo>
                  <a:lnTo>
                    <a:pt x="28" y="302"/>
                  </a:lnTo>
                  <a:lnTo>
                    <a:pt x="35" y="287"/>
                  </a:lnTo>
                  <a:cubicBezTo>
                    <a:pt x="36" y="284"/>
                    <a:pt x="39" y="283"/>
                    <a:pt x="42" y="284"/>
                  </a:cubicBezTo>
                  <a:cubicBezTo>
                    <a:pt x="44" y="286"/>
                    <a:pt x="46" y="289"/>
                    <a:pt x="44" y="292"/>
                  </a:cubicBezTo>
                  <a:close/>
                  <a:moveTo>
                    <a:pt x="20" y="360"/>
                  </a:moveTo>
                  <a:lnTo>
                    <a:pt x="18" y="367"/>
                  </a:lnTo>
                  <a:lnTo>
                    <a:pt x="14" y="387"/>
                  </a:lnTo>
                  <a:lnTo>
                    <a:pt x="14" y="390"/>
                  </a:lnTo>
                  <a:cubicBezTo>
                    <a:pt x="13" y="393"/>
                    <a:pt x="11" y="395"/>
                    <a:pt x="8" y="395"/>
                  </a:cubicBezTo>
                  <a:cubicBezTo>
                    <a:pt x="5" y="395"/>
                    <a:pt x="3" y="392"/>
                    <a:pt x="3" y="389"/>
                  </a:cubicBezTo>
                  <a:lnTo>
                    <a:pt x="4" y="385"/>
                  </a:lnTo>
                  <a:lnTo>
                    <a:pt x="8" y="364"/>
                  </a:lnTo>
                  <a:lnTo>
                    <a:pt x="9" y="357"/>
                  </a:lnTo>
                  <a:cubicBezTo>
                    <a:pt x="10" y="354"/>
                    <a:pt x="13" y="353"/>
                    <a:pt x="16" y="353"/>
                  </a:cubicBezTo>
                  <a:cubicBezTo>
                    <a:pt x="18" y="354"/>
                    <a:pt x="20" y="357"/>
                    <a:pt x="20" y="360"/>
                  </a:cubicBezTo>
                  <a:close/>
                  <a:moveTo>
                    <a:pt x="11" y="432"/>
                  </a:moveTo>
                  <a:lnTo>
                    <a:pt x="12" y="453"/>
                  </a:lnTo>
                  <a:lnTo>
                    <a:pt x="13" y="463"/>
                  </a:lnTo>
                  <a:cubicBezTo>
                    <a:pt x="13" y="466"/>
                    <a:pt x="11" y="469"/>
                    <a:pt x="8" y="469"/>
                  </a:cubicBezTo>
                  <a:cubicBezTo>
                    <a:pt x="6" y="469"/>
                    <a:pt x="3" y="467"/>
                    <a:pt x="3" y="464"/>
                  </a:cubicBezTo>
                  <a:lnTo>
                    <a:pt x="1" y="453"/>
                  </a:lnTo>
                  <a:lnTo>
                    <a:pt x="1" y="432"/>
                  </a:lnTo>
                  <a:cubicBezTo>
                    <a:pt x="0" y="429"/>
                    <a:pt x="3" y="427"/>
                    <a:pt x="6" y="427"/>
                  </a:cubicBezTo>
                  <a:cubicBezTo>
                    <a:pt x="9" y="427"/>
                    <a:pt x="11" y="429"/>
                    <a:pt x="11" y="432"/>
                  </a:cubicBezTo>
                  <a:close/>
                  <a:moveTo>
                    <a:pt x="21" y="504"/>
                  </a:moveTo>
                  <a:lnTo>
                    <a:pt x="25" y="521"/>
                  </a:lnTo>
                  <a:cubicBezTo>
                    <a:pt x="26" y="524"/>
                    <a:pt x="24" y="527"/>
                    <a:pt x="22" y="528"/>
                  </a:cubicBezTo>
                  <a:cubicBezTo>
                    <a:pt x="19" y="528"/>
                    <a:pt x="16" y="527"/>
                    <a:pt x="15" y="524"/>
                  </a:cubicBezTo>
                  <a:lnTo>
                    <a:pt x="11" y="507"/>
                  </a:lnTo>
                  <a:cubicBezTo>
                    <a:pt x="10" y="504"/>
                    <a:pt x="11" y="501"/>
                    <a:pt x="14" y="500"/>
                  </a:cubicBezTo>
                  <a:cubicBezTo>
                    <a:pt x="17" y="499"/>
                    <a:pt x="20" y="501"/>
                    <a:pt x="21" y="504"/>
                  </a:cubicBezTo>
                  <a:close/>
                </a:path>
              </a:pathLst>
            </a:custGeom>
            <a:solidFill>
              <a:srgbClr val="000000"/>
            </a:solidFill>
            <a:ln w="0">
              <a:solidFill>
                <a:srgbClr val="000000"/>
              </a:solidFill>
              <a:round/>
              <a:headEnd/>
              <a:tailEnd/>
            </a:ln>
          </p:spPr>
          <p:txBody>
            <a:bodyPr/>
            <a:lstStyle/>
            <a:p>
              <a:endParaRPr lang="en-US"/>
            </a:p>
          </p:txBody>
        </p:sp>
        <p:sp>
          <p:nvSpPr>
            <p:cNvPr id="42072" name="Freeform 65"/>
            <p:cNvSpPr>
              <a:spLocks noEditPoints="1"/>
            </p:cNvSpPr>
            <p:nvPr/>
          </p:nvSpPr>
          <p:spPr bwMode="auto">
            <a:xfrm>
              <a:off x="2321" y="1474"/>
              <a:ext cx="175" cy="153"/>
            </a:xfrm>
            <a:custGeom>
              <a:avLst/>
              <a:gdLst>
                <a:gd name="T0" fmla="*/ 161 w 175"/>
                <a:gd name="T1" fmla="*/ 1 h 153"/>
                <a:gd name="T2" fmla="*/ 171 w 175"/>
                <a:gd name="T3" fmla="*/ 3 h 153"/>
                <a:gd name="T4" fmla="*/ 163 w 175"/>
                <a:gd name="T5" fmla="*/ 3 h 153"/>
                <a:gd name="T6" fmla="*/ 151 w 175"/>
                <a:gd name="T7" fmla="*/ 9 h 153"/>
                <a:gd name="T8" fmla="*/ 150 w 175"/>
                <a:gd name="T9" fmla="*/ 1 h 153"/>
                <a:gd name="T10" fmla="*/ 149 w 175"/>
                <a:gd name="T11" fmla="*/ 5 h 153"/>
                <a:gd name="T12" fmla="*/ 142 w 175"/>
                <a:gd name="T13" fmla="*/ 5 h 153"/>
                <a:gd name="T14" fmla="*/ 121 w 175"/>
                <a:gd name="T15" fmla="*/ 13 h 153"/>
                <a:gd name="T16" fmla="*/ 133 w 175"/>
                <a:gd name="T17" fmla="*/ 6 h 153"/>
                <a:gd name="T18" fmla="*/ 122 w 175"/>
                <a:gd name="T19" fmla="*/ 10 h 153"/>
                <a:gd name="T20" fmla="*/ 129 w 175"/>
                <a:gd name="T21" fmla="*/ 8 h 153"/>
                <a:gd name="T22" fmla="*/ 101 w 175"/>
                <a:gd name="T23" fmla="*/ 18 h 153"/>
                <a:gd name="T24" fmla="*/ 109 w 175"/>
                <a:gd name="T25" fmla="*/ 9 h 153"/>
                <a:gd name="T26" fmla="*/ 109 w 175"/>
                <a:gd name="T27" fmla="*/ 13 h 153"/>
                <a:gd name="T28" fmla="*/ 101 w 175"/>
                <a:gd name="T29" fmla="*/ 13 h 153"/>
                <a:gd name="T30" fmla="*/ 110 w 175"/>
                <a:gd name="T31" fmla="*/ 11 h 153"/>
                <a:gd name="T32" fmla="*/ 80 w 175"/>
                <a:gd name="T33" fmla="*/ 20 h 153"/>
                <a:gd name="T34" fmla="*/ 90 w 175"/>
                <a:gd name="T35" fmla="*/ 17 h 153"/>
                <a:gd name="T36" fmla="*/ 82 w 175"/>
                <a:gd name="T37" fmla="*/ 21 h 153"/>
                <a:gd name="T38" fmla="*/ 74 w 175"/>
                <a:gd name="T39" fmla="*/ 31 h 153"/>
                <a:gd name="T40" fmla="*/ 62 w 175"/>
                <a:gd name="T41" fmla="*/ 28 h 153"/>
                <a:gd name="T42" fmla="*/ 75 w 175"/>
                <a:gd name="T43" fmla="*/ 29 h 153"/>
                <a:gd name="T44" fmla="*/ 64 w 175"/>
                <a:gd name="T45" fmla="*/ 32 h 153"/>
                <a:gd name="T46" fmla="*/ 72 w 175"/>
                <a:gd name="T47" fmla="*/ 27 h 153"/>
                <a:gd name="T48" fmla="*/ 49 w 175"/>
                <a:gd name="T49" fmla="*/ 46 h 153"/>
                <a:gd name="T50" fmla="*/ 51 w 175"/>
                <a:gd name="T51" fmla="*/ 36 h 153"/>
                <a:gd name="T52" fmla="*/ 55 w 175"/>
                <a:gd name="T53" fmla="*/ 39 h 153"/>
                <a:gd name="T54" fmla="*/ 48 w 175"/>
                <a:gd name="T55" fmla="*/ 44 h 153"/>
                <a:gd name="T56" fmla="*/ 53 w 175"/>
                <a:gd name="T57" fmla="*/ 39 h 153"/>
                <a:gd name="T58" fmla="*/ 33 w 175"/>
                <a:gd name="T59" fmla="*/ 60 h 153"/>
                <a:gd name="T60" fmla="*/ 35 w 175"/>
                <a:gd name="T61" fmla="*/ 48 h 153"/>
                <a:gd name="T62" fmla="*/ 37 w 175"/>
                <a:gd name="T63" fmla="*/ 52 h 153"/>
                <a:gd name="T64" fmla="*/ 30 w 175"/>
                <a:gd name="T65" fmla="*/ 56 h 153"/>
                <a:gd name="T66" fmla="*/ 37 w 175"/>
                <a:gd name="T67" fmla="*/ 50 h 153"/>
                <a:gd name="T68" fmla="*/ 22 w 175"/>
                <a:gd name="T69" fmla="*/ 75 h 153"/>
                <a:gd name="T70" fmla="*/ 17 w 175"/>
                <a:gd name="T71" fmla="*/ 69 h 153"/>
                <a:gd name="T72" fmla="*/ 27 w 175"/>
                <a:gd name="T73" fmla="*/ 67 h 153"/>
                <a:gd name="T74" fmla="*/ 20 w 175"/>
                <a:gd name="T75" fmla="*/ 72 h 153"/>
                <a:gd name="T76" fmla="*/ 18 w 175"/>
                <a:gd name="T77" fmla="*/ 73 h 153"/>
                <a:gd name="T78" fmla="*/ 23 w 175"/>
                <a:gd name="T79" fmla="*/ 66 h 153"/>
                <a:gd name="T80" fmla="*/ 10 w 175"/>
                <a:gd name="T81" fmla="*/ 95 h 153"/>
                <a:gd name="T82" fmla="*/ 11 w 175"/>
                <a:gd name="T83" fmla="*/ 81 h 153"/>
                <a:gd name="T84" fmla="*/ 14 w 175"/>
                <a:gd name="T85" fmla="*/ 84 h 153"/>
                <a:gd name="T86" fmla="*/ 10 w 175"/>
                <a:gd name="T87" fmla="*/ 90 h 153"/>
                <a:gd name="T88" fmla="*/ 9 w 175"/>
                <a:gd name="T89" fmla="*/ 102 h 153"/>
                <a:gd name="T90" fmla="*/ 7 w 175"/>
                <a:gd name="T91" fmla="*/ 114 h 153"/>
                <a:gd name="T92" fmla="*/ 2 w 175"/>
                <a:gd name="T93" fmla="*/ 104 h 153"/>
                <a:gd name="T94" fmla="*/ 4 w 175"/>
                <a:gd name="T95" fmla="*/ 103 h 153"/>
                <a:gd name="T96" fmla="*/ 5 w 175"/>
                <a:gd name="T97" fmla="*/ 111 h 153"/>
                <a:gd name="T98" fmla="*/ 3 w 175"/>
                <a:gd name="T99" fmla="*/ 111 h 153"/>
                <a:gd name="T100" fmla="*/ 6 w 175"/>
                <a:gd name="T101" fmla="*/ 122 h 153"/>
                <a:gd name="T102" fmla="*/ 2 w 175"/>
                <a:gd name="T103" fmla="*/ 136 h 153"/>
                <a:gd name="T104" fmla="*/ 2 w 175"/>
                <a:gd name="T105" fmla="*/ 121 h 153"/>
                <a:gd name="T106" fmla="*/ 4 w 175"/>
                <a:gd name="T107" fmla="*/ 130 h 153"/>
                <a:gd name="T108" fmla="*/ 3 w 175"/>
                <a:gd name="T109" fmla="*/ 133 h 153"/>
                <a:gd name="T110" fmla="*/ 10 w 175"/>
                <a:gd name="T111" fmla="*/ 144 h 153"/>
                <a:gd name="T112" fmla="*/ 3 w 175"/>
                <a:gd name="T113" fmla="*/ 145 h 153"/>
                <a:gd name="T114" fmla="*/ 7 w 175"/>
                <a:gd name="T115" fmla="*/ 146 h 153"/>
                <a:gd name="T116" fmla="*/ 7 w 175"/>
                <a:gd name="T117" fmla="*/ 149 h 15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5"/>
                <a:gd name="T178" fmla="*/ 0 h 153"/>
                <a:gd name="T179" fmla="*/ 175 w 175"/>
                <a:gd name="T180" fmla="*/ 153 h 15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5" h="153">
                  <a:moveTo>
                    <a:pt x="173" y="7"/>
                  </a:moveTo>
                  <a:lnTo>
                    <a:pt x="172" y="8"/>
                  </a:lnTo>
                  <a:lnTo>
                    <a:pt x="163" y="8"/>
                  </a:lnTo>
                  <a:lnTo>
                    <a:pt x="161" y="7"/>
                  </a:lnTo>
                  <a:lnTo>
                    <a:pt x="160" y="6"/>
                  </a:lnTo>
                  <a:lnTo>
                    <a:pt x="160" y="3"/>
                  </a:lnTo>
                  <a:lnTo>
                    <a:pt x="161" y="1"/>
                  </a:lnTo>
                  <a:lnTo>
                    <a:pt x="163" y="1"/>
                  </a:lnTo>
                  <a:lnTo>
                    <a:pt x="171" y="0"/>
                  </a:lnTo>
                  <a:lnTo>
                    <a:pt x="173" y="1"/>
                  </a:lnTo>
                  <a:lnTo>
                    <a:pt x="175" y="3"/>
                  </a:lnTo>
                  <a:lnTo>
                    <a:pt x="174" y="6"/>
                  </a:lnTo>
                  <a:lnTo>
                    <a:pt x="173" y="7"/>
                  </a:lnTo>
                  <a:close/>
                  <a:moveTo>
                    <a:pt x="171" y="3"/>
                  </a:moveTo>
                  <a:lnTo>
                    <a:pt x="171" y="6"/>
                  </a:lnTo>
                  <a:lnTo>
                    <a:pt x="170" y="4"/>
                  </a:lnTo>
                  <a:lnTo>
                    <a:pt x="172" y="5"/>
                  </a:lnTo>
                  <a:lnTo>
                    <a:pt x="163" y="5"/>
                  </a:lnTo>
                  <a:lnTo>
                    <a:pt x="164" y="5"/>
                  </a:lnTo>
                  <a:lnTo>
                    <a:pt x="163" y="6"/>
                  </a:lnTo>
                  <a:lnTo>
                    <a:pt x="163" y="3"/>
                  </a:lnTo>
                  <a:lnTo>
                    <a:pt x="164" y="4"/>
                  </a:lnTo>
                  <a:lnTo>
                    <a:pt x="163" y="3"/>
                  </a:lnTo>
                  <a:lnTo>
                    <a:pt x="171" y="3"/>
                  </a:lnTo>
                  <a:lnTo>
                    <a:pt x="170" y="4"/>
                  </a:lnTo>
                  <a:lnTo>
                    <a:pt x="171" y="3"/>
                  </a:lnTo>
                  <a:close/>
                  <a:moveTo>
                    <a:pt x="153" y="8"/>
                  </a:moveTo>
                  <a:lnTo>
                    <a:pt x="151" y="9"/>
                  </a:lnTo>
                  <a:lnTo>
                    <a:pt x="142" y="10"/>
                  </a:lnTo>
                  <a:lnTo>
                    <a:pt x="141" y="9"/>
                  </a:lnTo>
                  <a:lnTo>
                    <a:pt x="139" y="8"/>
                  </a:lnTo>
                  <a:lnTo>
                    <a:pt x="139" y="5"/>
                  </a:lnTo>
                  <a:lnTo>
                    <a:pt x="140" y="3"/>
                  </a:lnTo>
                  <a:lnTo>
                    <a:pt x="142" y="2"/>
                  </a:lnTo>
                  <a:lnTo>
                    <a:pt x="150" y="1"/>
                  </a:lnTo>
                  <a:lnTo>
                    <a:pt x="152" y="2"/>
                  </a:lnTo>
                  <a:lnTo>
                    <a:pt x="154" y="3"/>
                  </a:lnTo>
                  <a:lnTo>
                    <a:pt x="154" y="6"/>
                  </a:lnTo>
                  <a:lnTo>
                    <a:pt x="153" y="8"/>
                  </a:lnTo>
                  <a:close/>
                  <a:moveTo>
                    <a:pt x="150" y="4"/>
                  </a:moveTo>
                  <a:lnTo>
                    <a:pt x="151" y="7"/>
                  </a:lnTo>
                  <a:lnTo>
                    <a:pt x="149" y="5"/>
                  </a:lnTo>
                  <a:lnTo>
                    <a:pt x="151" y="6"/>
                  </a:lnTo>
                  <a:lnTo>
                    <a:pt x="142" y="6"/>
                  </a:lnTo>
                  <a:lnTo>
                    <a:pt x="144" y="6"/>
                  </a:lnTo>
                  <a:lnTo>
                    <a:pt x="142" y="8"/>
                  </a:lnTo>
                  <a:lnTo>
                    <a:pt x="142" y="4"/>
                  </a:lnTo>
                  <a:lnTo>
                    <a:pt x="144" y="6"/>
                  </a:lnTo>
                  <a:lnTo>
                    <a:pt x="142" y="5"/>
                  </a:lnTo>
                  <a:lnTo>
                    <a:pt x="151" y="4"/>
                  </a:lnTo>
                  <a:lnTo>
                    <a:pt x="149" y="5"/>
                  </a:lnTo>
                  <a:lnTo>
                    <a:pt x="150" y="4"/>
                  </a:lnTo>
                  <a:close/>
                  <a:moveTo>
                    <a:pt x="132" y="10"/>
                  </a:moveTo>
                  <a:lnTo>
                    <a:pt x="131" y="11"/>
                  </a:lnTo>
                  <a:lnTo>
                    <a:pt x="122" y="13"/>
                  </a:lnTo>
                  <a:lnTo>
                    <a:pt x="121" y="13"/>
                  </a:lnTo>
                  <a:lnTo>
                    <a:pt x="119" y="12"/>
                  </a:lnTo>
                  <a:lnTo>
                    <a:pt x="118" y="8"/>
                  </a:lnTo>
                  <a:lnTo>
                    <a:pt x="119" y="7"/>
                  </a:lnTo>
                  <a:lnTo>
                    <a:pt x="121" y="6"/>
                  </a:lnTo>
                  <a:lnTo>
                    <a:pt x="130" y="4"/>
                  </a:lnTo>
                  <a:lnTo>
                    <a:pt x="131" y="5"/>
                  </a:lnTo>
                  <a:lnTo>
                    <a:pt x="133" y="6"/>
                  </a:lnTo>
                  <a:lnTo>
                    <a:pt x="134" y="9"/>
                  </a:lnTo>
                  <a:lnTo>
                    <a:pt x="132" y="10"/>
                  </a:lnTo>
                  <a:close/>
                  <a:moveTo>
                    <a:pt x="130" y="6"/>
                  </a:moveTo>
                  <a:lnTo>
                    <a:pt x="130" y="9"/>
                  </a:lnTo>
                  <a:lnTo>
                    <a:pt x="129" y="8"/>
                  </a:lnTo>
                  <a:lnTo>
                    <a:pt x="130" y="8"/>
                  </a:lnTo>
                  <a:lnTo>
                    <a:pt x="122" y="10"/>
                  </a:lnTo>
                  <a:lnTo>
                    <a:pt x="123" y="9"/>
                  </a:lnTo>
                  <a:lnTo>
                    <a:pt x="122" y="11"/>
                  </a:lnTo>
                  <a:lnTo>
                    <a:pt x="121" y="8"/>
                  </a:lnTo>
                  <a:lnTo>
                    <a:pt x="123" y="9"/>
                  </a:lnTo>
                  <a:lnTo>
                    <a:pt x="121" y="9"/>
                  </a:lnTo>
                  <a:lnTo>
                    <a:pt x="130" y="7"/>
                  </a:lnTo>
                  <a:lnTo>
                    <a:pt x="129" y="8"/>
                  </a:lnTo>
                  <a:lnTo>
                    <a:pt x="130" y="6"/>
                  </a:lnTo>
                  <a:close/>
                  <a:moveTo>
                    <a:pt x="112" y="15"/>
                  </a:moveTo>
                  <a:lnTo>
                    <a:pt x="111" y="16"/>
                  </a:lnTo>
                  <a:lnTo>
                    <a:pt x="107" y="17"/>
                  </a:lnTo>
                  <a:lnTo>
                    <a:pt x="103" y="18"/>
                  </a:lnTo>
                  <a:lnTo>
                    <a:pt x="101" y="18"/>
                  </a:lnTo>
                  <a:lnTo>
                    <a:pt x="100" y="17"/>
                  </a:lnTo>
                  <a:lnTo>
                    <a:pt x="98" y="14"/>
                  </a:lnTo>
                  <a:lnTo>
                    <a:pt x="99" y="12"/>
                  </a:lnTo>
                  <a:lnTo>
                    <a:pt x="101" y="11"/>
                  </a:lnTo>
                  <a:lnTo>
                    <a:pt x="105" y="10"/>
                  </a:lnTo>
                  <a:lnTo>
                    <a:pt x="109" y="9"/>
                  </a:lnTo>
                  <a:lnTo>
                    <a:pt x="111" y="9"/>
                  </a:lnTo>
                  <a:lnTo>
                    <a:pt x="113" y="10"/>
                  </a:lnTo>
                  <a:lnTo>
                    <a:pt x="114" y="13"/>
                  </a:lnTo>
                  <a:lnTo>
                    <a:pt x="112" y="15"/>
                  </a:lnTo>
                  <a:close/>
                  <a:moveTo>
                    <a:pt x="110" y="11"/>
                  </a:moveTo>
                  <a:lnTo>
                    <a:pt x="110" y="14"/>
                  </a:lnTo>
                  <a:lnTo>
                    <a:pt x="109" y="13"/>
                  </a:lnTo>
                  <a:lnTo>
                    <a:pt x="110" y="13"/>
                  </a:lnTo>
                  <a:lnTo>
                    <a:pt x="106" y="14"/>
                  </a:lnTo>
                  <a:lnTo>
                    <a:pt x="102" y="15"/>
                  </a:lnTo>
                  <a:lnTo>
                    <a:pt x="103" y="14"/>
                  </a:lnTo>
                  <a:lnTo>
                    <a:pt x="103" y="16"/>
                  </a:lnTo>
                  <a:lnTo>
                    <a:pt x="101" y="13"/>
                  </a:lnTo>
                  <a:lnTo>
                    <a:pt x="103" y="14"/>
                  </a:lnTo>
                  <a:lnTo>
                    <a:pt x="101" y="14"/>
                  </a:lnTo>
                  <a:lnTo>
                    <a:pt x="106" y="13"/>
                  </a:lnTo>
                  <a:lnTo>
                    <a:pt x="110" y="12"/>
                  </a:lnTo>
                  <a:lnTo>
                    <a:pt x="109" y="12"/>
                  </a:lnTo>
                  <a:lnTo>
                    <a:pt x="110" y="11"/>
                  </a:lnTo>
                  <a:close/>
                  <a:moveTo>
                    <a:pt x="93" y="21"/>
                  </a:moveTo>
                  <a:lnTo>
                    <a:pt x="92" y="22"/>
                  </a:lnTo>
                  <a:lnTo>
                    <a:pt x="84" y="26"/>
                  </a:lnTo>
                  <a:lnTo>
                    <a:pt x="82" y="26"/>
                  </a:lnTo>
                  <a:lnTo>
                    <a:pt x="80" y="25"/>
                  </a:lnTo>
                  <a:lnTo>
                    <a:pt x="79" y="22"/>
                  </a:lnTo>
                  <a:lnTo>
                    <a:pt x="80" y="20"/>
                  </a:lnTo>
                  <a:lnTo>
                    <a:pt x="81" y="19"/>
                  </a:lnTo>
                  <a:lnTo>
                    <a:pt x="89" y="15"/>
                  </a:lnTo>
                  <a:lnTo>
                    <a:pt x="91" y="15"/>
                  </a:lnTo>
                  <a:lnTo>
                    <a:pt x="93" y="16"/>
                  </a:lnTo>
                  <a:lnTo>
                    <a:pt x="94" y="19"/>
                  </a:lnTo>
                  <a:lnTo>
                    <a:pt x="93" y="21"/>
                  </a:lnTo>
                  <a:close/>
                  <a:moveTo>
                    <a:pt x="90" y="17"/>
                  </a:moveTo>
                  <a:lnTo>
                    <a:pt x="91" y="20"/>
                  </a:lnTo>
                  <a:lnTo>
                    <a:pt x="89" y="19"/>
                  </a:lnTo>
                  <a:lnTo>
                    <a:pt x="91" y="19"/>
                  </a:lnTo>
                  <a:lnTo>
                    <a:pt x="83" y="23"/>
                  </a:lnTo>
                  <a:lnTo>
                    <a:pt x="84" y="22"/>
                  </a:lnTo>
                  <a:lnTo>
                    <a:pt x="83" y="24"/>
                  </a:lnTo>
                  <a:lnTo>
                    <a:pt x="82" y="21"/>
                  </a:lnTo>
                  <a:lnTo>
                    <a:pt x="84" y="21"/>
                  </a:lnTo>
                  <a:lnTo>
                    <a:pt x="82" y="21"/>
                  </a:lnTo>
                  <a:lnTo>
                    <a:pt x="90" y="18"/>
                  </a:lnTo>
                  <a:lnTo>
                    <a:pt x="89" y="19"/>
                  </a:lnTo>
                  <a:lnTo>
                    <a:pt x="90" y="17"/>
                  </a:lnTo>
                  <a:close/>
                  <a:moveTo>
                    <a:pt x="75" y="29"/>
                  </a:moveTo>
                  <a:lnTo>
                    <a:pt x="74" y="31"/>
                  </a:lnTo>
                  <a:lnTo>
                    <a:pt x="66" y="35"/>
                  </a:lnTo>
                  <a:lnTo>
                    <a:pt x="64" y="35"/>
                  </a:lnTo>
                  <a:lnTo>
                    <a:pt x="62" y="35"/>
                  </a:lnTo>
                  <a:lnTo>
                    <a:pt x="61" y="32"/>
                  </a:lnTo>
                  <a:lnTo>
                    <a:pt x="61" y="30"/>
                  </a:lnTo>
                  <a:lnTo>
                    <a:pt x="62" y="28"/>
                  </a:lnTo>
                  <a:lnTo>
                    <a:pt x="63" y="28"/>
                  </a:lnTo>
                  <a:lnTo>
                    <a:pt x="70" y="24"/>
                  </a:lnTo>
                  <a:lnTo>
                    <a:pt x="72" y="24"/>
                  </a:lnTo>
                  <a:lnTo>
                    <a:pt x="74" y="24"/>
                  </a:lnTo>
                  <a:lnTo>
                    <a:pt x="75" y="27"/>
                  </a:lnTo>
                  <a:lnTo>
                    <a:pt x="75" y="29"/>
                  </a:lnTo>
                  <a:close/>
                  <a:moveTo>
                    <a:pt x="71" y="26"/>
                  </a:moveTo>
                  <a:lnTo>
                    <a:pt x="73" y="29"/>
                  </a:lnTo>
                  <a:lnTo>
                    <a:pt x="71" y="28"/>
                  </a:lnTo>
                  <a:lnTo>
                    <a:pt x="72" y="28"/>
                  </a:lnTo>
                  <a:lnTo>
                    <a:pt x="65" y="32"/>
                  </a:lnTo>
                  <a:lnTo>
                    <a:pt x="64" y="32"/>
                  </a:lnTo>
                  <a:lnTo>
                    <a:pt x="65" y="31"/>
                  </a:lnTo>
                  <a:lnTo>
                    <a:pt x="65" y="33"/>
                  </a:lnTo>
                  <a:lnTo>
                    <a:pt x="63" y="30"/>
                  </a:lnTo>
                  <a:lnTo>
                    <a:pt x="65" y="31"/>
                  </a:lnTo>
                  <a:lnTo>
                    <a:pt x="64" y="31"/>
                  </a:lnTo>
                  <a:lnTo>
                    <a:pt x="64" y="30"/>
                  </a:lnTo>
                  <a:lnTo>
                    <a:pt x="72" y="27"/>
                  </a:lnTo>
                  <a:lnTo>
                    <a:pt x="71" y="28"/>
                  </a:lnTo>
                  <a:lnTo>
                    <a:pt x="71" y="26"/>
                  </a:lnTo>
                  <a:close/>
                  <a:moveTo>
                    <a:pt x="57" y="40"/>
                  </a:moveTo>
                  <a:lnTo>
                    <a:pt x="56" y="41"/>
                  </a:lnTo>
                  <a:lnTo>
                    <a:pt x="55" y="42"/>
                  </a:lnTo>
                  <a:lnTo>
                    <a:pt x="49" y="46"/>
                  </a:lnTo>
                  <a:lnTo>
                    <a:pt x="47" y="47"/>
                  </a:lnTo>
                  <a:lnTo>
                    <a:pt x="46" y="46"/>
                  </a:lnTo>
                  <a:lnTo>
                    <a:pt x="44" y="44"/>
                  </a:lnTo>
                  <a:lnTo>
                    <a:pt x="44" y="42"/>
                  </a:lnTo>
                  <a:lnTo>
                    <a:pt x="45" y="40"/>
                  </a:lnTo>
                  <a:lnTo>
                    <a:pt x="50" y="36"/>
                  </a:lnTo>
                  <a:lnTo>
                    <a:pt x="51" y="36"/>
                  </a:lnTo>
                  <a:lnTo>
                    <a:pt x="52" y="35"/>
                  </a:lnTo>
                  <a:lnTo>
                    <a:pt x="54" y="35"/>
                  </a:lnTo>
                  <a:lnTo>
                    <a:pt x="56" y="35"/>
                  </a:lnTo>
                  <a:lnTo>
                    <a:pt x="58" y="38"/>
                  </a:lnTo>
                  <a:lnTo>
                    <a:pt x="57" y="40"/>
                  </a:lnTo>
                  <a:close/>
                  <a:moveTo>
                    <a:pt x="53" y="37"/>
                  </a:moveTo>
                  <a:lnTo>
                    <a:pt x="55" y="39"/>
                  </a:lnTo>
                  <a:lnTo>
                    <a:pt x="53" y="39"/>
                  </a:lnTo>
                  <a:lnTo>
                    <a:pt x="55" y="39"/>
                  </a:lnTo>
                  <a:lnTo>
                    <a:pt x="53" y="39"/>
                  </a:lnTo>
                  <a:lnTo>
                    <a:pt x="47" y="44"/>
                  </a:lnTo>
                  <a:lnTo>
                    <a:pt x="48" y="42"/>
                  </a:lnTo>
                  <a:lnTo>
                    <a:pt x="48" y="44"/>
                  </a:lnTo>
                  <a:lnTo>
                    <a:pt x="46" y="42"/>
                  </a:lnTo>
                  <a:lnTo>
                    <a:pt x="48" y="42"/>
                  </a:lnTo>
                  <a:lnTo>
                    <a:pt x="46" y="43"/>
                  </a:lnTo>
                  <a:lnTo>
                    <a:pt x="52" y="38"/>
                  </a:lnTo>
                  <a:lnTo>
                    <a:pt x="54" y="37"/>
                  </a:lnTo>
                  <a:lnTo>
                    <a:pt x="53" y="39"/>
                  </a:lnTo>
                  <a:lnTo>
                    <a:pt x="53" y="37"/>
                  </a:lnTo>
                  <a:close/>
                  <a:moveTo>
                    <a:pt x="41" y="52"/>
                  </a:moveTo>
                  <a:lnTo>
                    <a:pt x="41" y="54"/>
                  </a:lnTo>
                  <a:lnTo>
                    <a:pt x="35" y="59"/>
                  </a:lnTo>
                  <a:lnTo>
                    <a:pt x="34" y="60"/>
                  </a:lnTo>
                  <a:lnTo>
                    <a:pt x="33" y="60"/>
                  </a:lnTo>
                  <a:lnTo>
                    <a:pt x="31" y="60"/>
                  </a:lnTo>
                  <a:lnTo>
                    <a:pt x="29" y="59"/>
                  </a:lnTo>
                  <a:lnTo>
                    <a:pt x="28" y="56"/>
                  </a:lnTo>
                  <a:lnTo>
                    <a:pt x="29" y="55"/>
                  </a:lnTo>
                  <a:lnTo>
                    <a:pt x="29" y="54"/>
                  </a:lnTo>
                  <a:lnTo>
                    <a:pt x="35" y="48"/>
                  </a:lnTo>
                  <a:lnTo>
                    <a:pt x="37" y="48"/>
                  </a:lnTo>
                  <a:lnTo>
                    <a:pt x="39" y="48"/>
                  </a:lnTo>
                  <a:lnTo>
                    <a:pt x="41" y="50"/>
                  </a:lnTo>
                  <a:lnTo>
                    <a:pt x="41" y="52"/>
                  </a:lnTo>
                  <a:close/>
                  <a:moveTo>
                    <a:pt x="37" y="50"/>
                  </a:moveTo>
                  <a:lnTo>
                    <a:pt x="39" y="52"/>
                  </a:lnTo>
                  <a:lnTo>
                    <a:pt x="37" y="52"/>
                  </a:lnTo>
                  <a:lnTo>
                    <a:pt x="38" y="51"/>
                  </a:lnTo>
                  <a:lnTo>
                    <a:pt x="33" y="57"/>
                  </a:lnTo>
                  <a:lnTo>
                    <a:pt x="32" y="58"/>
                  </a:lnTo>
                  <a:lnTo>
                    <a:pt x="33" y="56"/>
                  </a:lnTo>
                  <a:lnTo>
                    <a:pt x="33" y="58"/>
                  </a:lnTo>
                  <a:lnTo>
                    <a:pt x="30" y="56"/>
                  </a:lnTo>
                  <a:lnTo>
                    <a:pt x="32" y="56"/>
                  </a:lnTo>
                  <a:lnTo>
                    <a:pt x="38" y="51"/>
                  </a:lnTo>
                  <a:lnTo>
                    <a:pt x="37" y="52"/>
                  </a:lnTo>
                  <a:lnTo>
                    <a:pt x="37" y="50"/>
                  </a:lnTo>
                  <a:close/>
                  <a:moveTo>
                    <a:pt x="27" y="67"/>
                  </a:moveTo>
                  <a:lnTo>
                    <a:pt x="27" y="69"/>
                  </a:lnTo>
                  <a:lnTo>
                    <a:pt x="26" y="69"/>
                  </a:lnTo>
                  <a:lnTo>
                    <a:pt x="27" y="69"/>
                  </a:lnTo>
                  <a:lnTo>
                    <a:pt x="23" y="74"/>
                  </a:lnTo>
                  <a:lnTo>
                    <a:pt x="22" y="75"/>
                  </a:lnTo>
                  <a:lnTo>
                    <a:pt x="21" y="76"/>
                  </a:lnTo>
                  <a:lnTo>
                    <a:pt x="19" y="77"/>
                  </a:lnTo>
                  <a:lnTo>
                    <a:pt x="16" y="75"/>
                  </a:lnTo>
                  <a:lnTo>
                    <a:pt x="15" y="73"/>
                  </a:lnTo>
                  <a:lnTo>
                    <a:pt x="16" y="71"/>
                  </a:lnTo>
                  <a:lnTo>
                    <a:pt x="17" y="69"/>
                  </a:lnTo>
                  <a:lnTo>
                    <a:pt x="21" y="64"/>
                  </a:lnTo>
                  <a:lnTo>
                    <a:pt x="23" y="63"/>
                  </a:lnTo>
                  <a:lnTo>
                    <a:pt x="25" y="63"/>
                  </a:lnTo>
                  <a:lnTo>
                    <a:pt x="27" y="65"/>
                  </a:lnTo>
                  <a:lnTo>
                    <a:pt x="27" y="67"/>
                  </a:lnTo>
                  <a:close/>
                  <a:moveTo>
                    <a:pt x="23" y="66"/>
                  </a:moveTo>
                  <a:lnTo>
                    <a:pt x="25" y="67"/>
                  </a:lnTo>
                  <a:lnTo>
                    <a:pt x="23" y="67"/>
                  </a:lnTo>
                  <a:lnTo>
                    <a:pt x="24" y="67"/>
                  </a:lnTo>
                  <a:lnTo>
                    <a:pt x="20" y="72"/>
                  </a:lnTo>
                  <a:lnTo>
                    <a:pt x="19" y="74"/>
                  </a:lnTo>
                  <a:lnTo>
                    <a:pt x="20" y="72"/>
                  </a:lnTo>
                  <a:lnTo>
                    <a:pt x="20" y="74"/>
                  </a:lnTo>
                  <a:lnTo>
                    <a:pt x="17" y="73"/>
                  </a:lnTo>
                  <a:lnTo>
                    <a:pt x="19" y="72"/>
                  </a:lnTo>
                  <a:lnTo>
                    <a:pt x="18" y="73"/>
                  </a:lnTo>
                  <a:lnTo>
                    <a:pt x="19" y="71"/>
                  </a:lnTo>
                  <a:lnTo>
                    <a:pt x="23" y="66"/>
                  </a:lnTo>
                  <a:lnTo>
                    <a:pt x="24" y="66"/>
                  </a:lnTo>
                  <a:lnTo>
                    <a:pt x="23" y="68"/>
                  </a:lnTo>
                  <a:lnTo>
                    <a:pt x="23" y="66"/>
                  </a:lnTo>
                  <a:close/>
                  <a:moveTo>
                    <a:pt x="16" y="84"/>
                  </a:moveTo>
                  <a:lnTo>
                    <a:pt x="16" y="86"/>
                  </a:lnTo>
                  <a:lnTo>
                    <a:pt x="14" y="89"/>
                  </a:lnTo>
                  <a:lnTo>
                    <a:pt x="13" y="93"/>
                  </a:lnTo>
                  <a:lnTo>
                    <a:pt x="12" y="95"/>
                  </a:lnTo>
                  <a:lnTo>
                    <a:pt x="10" y="95"/>
                  </a:lnTo>
                  <a:lnTo>
                    <a:pt x="7" y="94"/>
                  </a:lnTo>
                  <a:lnTo>
                    <a:pt x="6" y="92"/>
                  </a:lnTo>
                  <a:lnTo>
                    <a:pt x="6" y="90"/>
                  </a:lnTo>
                  <a:lnTo>
                    <a:pt x="8" y="86"/>
                  </a:lnTo>
                  <a:lnTo>
                    <a:pt x="9" y="82"/>
                  </a:lnTo>
                  <a:lnTo>
                    <a:pt x="11" y="81"/>
                  </a:lnTo>
                  <a:lnTo>
                    <a:pt x="13" y="80"/>
                  </a:lnTo>
                  <a:lnTo>
                    <a:pt x="16" y="82"/>
                  </a:lnTo>
                  <a:lnTo>
                    <a:pt x="16" y="84"/>
                  </a:lnTo>
                  <a:close/>
                  <a:moveTo>
                    <a:pt x="11" y="83"/>
                  </a:moveTo>
                  <a:lnTo>
                    <a:pt x="15" y="84"/>
                  </a:lnTo>
                  <a:lnTo>
                    <a:pt x="13" y="85"/>
                  </a:lnTo>
                  <a:lnTo>
                    <a:pt x="14" y="84"/>
                  </a:lnTo>
                  <a:lnTo>
                    <a:pt x="12" y="88"/>
                  </a:lnTo>
                  <a:lnTo>
                    <a:pt x="10" y="92"/>
                  </a:lnTo>
                  <a:lnTo>
                    <a:pt x="10" y="90"/>
                  </a:lnTo>
                  <a:lnTo>
                    <a:pt x="11" y="92"/>
                  </a:lnTo>
                  <a:lnTo>
                    <a:pt x="8" y="91"/>
                  </a:lnTo>
                  <a:lnTo>
                    <a:pt x="10" y="90"/>
                  </a:lnTo>
                  <a:lnTo>
                    <a:pt x="9" y="92"/>
                  </a:lnTo>
                  <a:lnTo>
                    <a:pt x="10" y="88"/>
                  </a:lnTo>
                  <a:lnTo>
                    <a:pt x="12" y="84"/>
                  </a:lnTo>
                  <a:lnTo>
                    <a:pt x="12" y="85"/>
                  </a:lnTo>
                  <a:lnTo>
                    <a:pt x="11" y="83"/>
                  </a:lnTo>
                  <a:close/>
                  <a:moveTo>
                    <a:pt x="9" y="102"/>
                  </a:moveTo>
                  <a:lnTo>
                    <a:pt x="9" y="104"/>
                  </a:lnTo>
                  <a:lnTo>
                    <a:pt x="9" y="106"/>
                  </a:lnTo>
                  <a:lnTo>
                    <a:pt x="8" y="112"/>
                  </a:lnTo>
                  <a:lnTo>
                    <a:pt x="8" y="111"/>
                  </a:lnTo>
                  <a:lnTo>
                    <a:pt x="8" y="112"/>
                  </a:lnTo>
                  <a:lnTo>
                    <a:pt x="7" y="114"/>
                  </a:lnTo>
                  <a:lnTo>
                    <a:pt x="6" y="115"/>
                  </a:lnTo>
                  <a:lnTo>
                    <a:pt x="2" y="115"/>
                  </a:lnTo>
                  <a:lnTo>
                    <a:pt x="1" y="113"/>
                  </a:lnTo>
                  <a:lnTo>
                    <a:pt x="0" y="111"/>
                  </a:lnTo>
                  <a:lnTo>
                    <a:pt x="1" y="110"/>
                  </a:lnTo>
                  <a:lnTo>
                    <a:pt x="2" y="104"/>
                  </a:lnTo>
                  <a:lnTo>
                    <a:pt x="2" y="102"/>
                  </a:lnTo>
                  <a:lnTo>
                    <a:pt x="3" y="101"/>
                  </a:lnTo>
                  <a:lnTo>
                    <a:pt x="5" y="100"/>
                  </a:lnTo>
                  <a:lnTo>
                    <a:pt x="8" y="100"/>
                  </a:lnTo>
                  <a:lnTo>
                    <a:pt x="9" y="102"/>
                  </a:lnTo>
                  <a:close/>
                  <a:moveTo>
                    <a:pt x="4" y="103"/>
                  </a:moveTo>
                  <a:lnTo>
                    <a:pt x="7" y="104"/>
                  </a:lnTo>
                  <a:lnTo>
                    <a:pt x="5" y="105"/>
                  </a:lnTo>
                  <a:lnTo>
                    <a:pt x="6" y="103"/>
                  </a:lnTo>
                  <a:lnTo>
                    <a:pt x="6" y="105"/>
                  </a:lnTo>
                  <a:lnTo>
                    <a:pt x="5" y="111"/>
                  </a:lnTo>
                  <a:lnTo>
                    <a:pt x="5" y="112"/>
                  </a:lnTo>
                  <a:lnTo>
                    <a:pt x="4" y="110"/>
                  </a:lnTo>
                  <a:lnTo>
                    <a:pt x="6" y="112"/>
                  </a:lnTo>
                  <a:lnTo>
                    <a:pt x="2" y="112"/>
                  </a:lnTo>
                  <a:lnTo>
                    <a:pt x="4" y="110"/>
                  </a:lnTo>
                  <a:lnTo>
                    <a:pt x="3" y="112"/>
                  </a:lnTo>
                  <a:lnTo>
                    <a:pt x="3" y="111"/>
                  </a:lnTo>
                  <a:lnTo>
                    <a:pt x="4" y="111"/>
                  </a:lnTo>
                  <a:lnTo>
                    <a:pt x="5" y="105"/>
                  </a:lnTo>
                  <a:lnTo>
                    <a:pt x="5" y="103"/>
                  </a:lnTo>
                  <a:lnTo>
                    <a:pt x="6" y="105"/>
                  </a:lnTo>
                  <a:lnTo>
                    <a:pt x="4" y="103"/>
                  </a:lnTo>
                  <a:close/>
                  <a:moveTo>
                    <a:pt x="6" y="122"/>
                  </a:moveTo>
                  <a:lnTo>
                    <a:pt x="7" y="124"/>
                  </a:lnTo>
                  <a:lnTo>
                    <a:pt x="7" y="130"/>
                  </a:lnTo>
                  <a:lnTo>
                    <a:pt x="8" y="133"/>
                  </a:lnTo>
                  <a:lnTo>
                    <a:pt x="7" y="134"/>
                  </a:lnTo>
                  <a:lnTo>
                    <a:pt x="6" y="136"/>
                  </a:lnTo>
                  <a:lnTo>
                    <a:pt x="2" y="136"/>
                  </a:lnTo>
                  <a:lnTo>
                    <a:pt x="1" y="134"/>
                  </a:lnTo>
                  <a:lnTo>
                    <a:pt x="0" y="133"/>
                  </a:lnTo>
                  <a:lnTo>
                    <a:pt x="0" y="130"/>
                  </a:lnTo>
                  <a:lnTo>
                    <a:pt x="0" y="124"/>
                  </a:lnTo>
                  <a:lnTo>
                    <a:pt x="0" y="122"/>
                  </a:lnTo>
                  <a:lnTo>
                    <a:pt x="2" y="121"/>
                  </a:lnTo>
                  <a:lnTo>
                    <a:pt x="5" y="121"/>
                  </a:lnTo>
                  <a:lnTo>
                    <a:pt x="6" y="122"/>
                  </a:lnTo>
                  <a:close/>
                  <a:moveTo>
                    <a:pt x="2" y="124"/>
                  </a:moveTo>
                  <a:lnTo>
                    <a:pt x="5" y="124"/>
                  </a:lnTo>
                  <a:lnTo>
                    <a:pt x="4" y="125"/>
                  </a:lnTo>
                  <a:lnTo>
                    <a:pt x="4" y="124"/>
                  </a:lnTo>
                  <a:lnTo>
                    <a:pt x="4" y="130"/>
                  </a:lnTo>
                  <a:lnTo>
                    <a:pt x="4" y="129"/>
                  </a:lnTo>
                  <a:lnTo>
                    <a:pt x="5" y="133"/>
                  </a:lnTo>
                  <a:lnTo>
                    <a:pt x="4" y="131"/>
                  </a:lnTo>
                  <a:lnTo>
                    <a:pt x="6" y="133"/>
                  </a:lnTo>
                  <a:lnTo>
                    <a:pt x="2" y="133"/>
                  </a:lnTo>
                  <a:lnTo>
                    <a:pt x="4" y="131"/>
                  </a:lnTo>
                  <a:lnTo>
                    <a:pt x="3" y="133"/>
                  </a:lnTo>
                  <a:lnTo>
                    <a:pt x="3" y="130"/>
                  </a:lnTo>
                  <a:lnTo>
                    <a:pt x="2" y="124"/>
                  </a:lnTo>
                  <a:lnTo>
                    <a:pt x="3" y="125"/>
                  </a:lnTo>
                  <a:lnTo>
                    <a:pt x="2" y="124"/>
                  </a:lnTo>
                  <a:close/>
                  <a:moveTo>
                    <a:pt x="9" y="142"/>
                  </a:moveTo>
                  <a:lnTo>
                    <a:pt x="10" y="144"/>
                  </a:lnTo>
                  <a:lnTo>
                    <a:pt x="11" y="149"/>
                  </a:lnTo>
                  <a:lnTo>
                    <a:pt x="11" y="150"/>
                  </a:lnTo>
                  <a:lnTo>
                    <a:pt x="10" y="152"/>
                  </a:lnTo>
                  <a:lnTo>
                    <a:pt x="7" y="153"/>
                  </a:lnTo>
                  <a:lnTo>
                    <a:pt x="5" y="152"/>
                  </a:lnTo>
                  <a:lnTo>
                    <a:pt x="4" y="150"/>
                  </a:lnTo>
                  <a:lnTo>
                    <a:pt x="3" y="145"/>
                  </a:lnTo>
                  <a:lnTo>
                    <a:pt x="3" y="144"/>
                  </a:lnTo>
                  <a:lnTo>
                    <a:pt x="4" y="142"/>
                  </a:lnTo>
                  <a:lnTo>
                    <a:pt x="7" y="141"/>
                  </a:lnTo>
                  <a:lnTo>
                    <a:pt x="9" y="142"/>
                  </a:lnTo>
                  <a:close/>
                  <a:moveTo>
                    <a:pt x="4" y="145"/>
                  </a:moveTo>
                  <a:lnTo>
                    <a:pt x="8" y="144"/>
                  </a:lnTo>
                  <a:lnTo>
                    <a:pt x="7" y="146"/>
                  </a:lnTo>
                  <a:lnTo>
                    <a:pt x="7" y="145"/>
                  </a:lnTo>
                  <a:lnTo>
                    <a:pt x="8" y="149"/>
                  </a:lnTo>
                  <a:lnTo>
                    <a:pt x="7" y="148"/>
                  </a:lnTo>
                  <a:lnTo>
                    <a:pt x="9" y="149"/>
                  </a:lnTo>
                  <a:lnTo>
                    <a:pt x="6" y="150"/>
                  </a:lnTo>
                  <a:lnTo>
                    <a:pt x="7" y="148"/>
                  </a:lnTo>
                  <a:lnTo>
                    <a:pt x="7" y="149"/>
                  </a:lnTo>
                  <a:lnTo>
                    <a:pt x="6" y="145"/>
                  </a:lnTo>
                  <a:lnTo>
                    <a:pt x="6" y="146"/>
                  </a:lnTo>
                  <a:lnTo>
                    <a:pt x="4" y="145"/>
                  </a:lnTo>
                  <a:close/>
                </a:path>
              </a:pathLst>
            </a:custGeom>
            <a:solidFill>
              <a:srgbClr val="000000"/>
            </a:solidFill>
            <a:ln w="0">
              <a:solidFill>
                <a:srgbClr val="000000"/>
              </a:solidFill>
              <a:round/>
              <a:headEnd/>
              <a:tailEnd/>
            </a:ln>
          </p:spPr>
          <p:txBody>
            <a:bodyPr/>
            <a:lstStyle/>
            <a:p>
              <a:endParaRPr lang="en-US"/>
            </a:p>
          </p:txBody>
        </p:sp>
        <p:sp>
          <p:nvSpPr>
            <p:cNvPr id="42073" name="Rectangle 66"/>
            <p:cNvSpPr>
              <a:spLocks noChangeArrowheads="1"/>
            </p:cNvSpPr>
            <p:nvPr/>
          </p:nvSpPr>
          <p:spPr bwMode="auto">
            <a:xfrm>
              <a:off x="2392" y="1520"/>
              <a:ext cx="81" cy="108"/>
            </a:xfrm>
            <a:prstGeom prst="rect">
              <a:avLst/>
            </a:prstGeom>
            <a:noFill/>
            <a:ln w="9525">
              <a:noFill/>
              <a:miter lim="800000"/>
              <a:headEnd/>
              <a:tailEnd/>
            </a:ln>
          </p:spPr>
          <p:txBody>
            <a:bodyPr wrap="none" lIns="0" tIns="0" rIns="0" bIns="0">
              <a:spAutoFit/>
            </a:bodyPr>
            <a:lstStyle/>
            <a:p>
              <a:r>
                <a:rPr lang="en-US" sz="1000">
                  <a:solidFill>
                    <a:srgbClr val="000000"/>
                  </a:solidFill>
                </a:rPr>
                <a:t>L</a:t>
              </a:r>
              <a:endParaRPr lang="en-US"/>
            </a:p>
          </p:txBody>
        </p:sp>
        <p:sp>
          <p:nvSpPr>
            <p:cNvPr id="42074" name="Rectangle 67"/>
            <p:cNvSpPr>
              <a:spLocks noChangeArrowheads="1"/>
            </p:cNvSpPr>
            <p:nvPr/>
          </p:nvSpPr>
          <p:spPr bwMode="auto">
            <a:xfrm>
              <a:off x="2283" y="1413"/>
              <a:ext cx="90" cy="108"/>
            </a:xfrm>
            <a:prstGeom prst="rect">
              <a:avLst/>
            </a:prstGeom>
            <a:noFill/>
            <a:ln w="9525">
              <a:noFill/>
              <a:miter lim="800000"/>
              <a:headEnd/>
              <a:tailEnd/>
            </a:ln>
          </p:spPr>
          <p:txBody>
            <a:bodyPr wrap="none" lIns="0" tIns="0" rIns="0" bIns="0">
              <a:spAutoFit/>
            </a:bodyPr>
            <a:lstStyle/>
            <a:p>
              <a:r>
                <a:rPr lang="en-US" sz="1000">
                  <a:solidFill>
                    <a:srgbClr val="000000"/>
                  </a:solidFill>
                </a:rPr>
                <a:t>B</a:t>
              </a:r>
              <a:endParaRPr lang="en-US"/>
            </a:p>
          </p:txBody>
        </p:sp>
        <p:sp>
          <p:nvSpPr>
            <p:cNvPr id="42075" name="Freeform 68"/>
            <p:cNvSpPr>
              <a:spLocks/>
            </p:cNvSpPr>
            <p:nvPr/>
          </p:nvSpPr>
          <p:spPr bwMode="auto">
            <a:xfrm>
              <a:off x="2431" y="914"/>
              <a:ext cx="279" cy="265"/>
            </a:xfrm>
            <a:custGeom>
              <a:avLst/>
              <a:gdLst>
                <a:gd name="T0" fmla="*/ 0 w 992"/>
                <a:gd name="T1" fmla="*/ 10 h 944"/>
                <a:gd name="T2" fmla="*/ 11 w 992"/>
                <a:gd name="T3" fmla="*/ 0 h 944"/>
                <a:gd name="T4" fmla="*/ 11 w 992"/>
                <a:gd name="T5" fmla="*/ 0 h 944"/>
                <a:gd name="T6" fmla="*/ 11 w 992"/>
                <a:gd name="T7" fmla="*/ 0 h 944"/>
                <a:gd name="T8" fmla="*/ 22 w 992"/>
                <a:gd name="T9" fmla="*/ 10 h 944"/>
                <a:gd name="T10" fmla="*/ 22 w 992"/>
                <a:gd name="T11" fmla="*/ 10 h 944"/>
                <a:gd name="T12" fmla="*/ 22 w 992"/>
                <a:gd name="T13" fmla="*/ 10 h 944"/>
                <a:gd name="T14" fmla="*/ 11 w 992"/>
                <a:gd name="T15" fmla="*/ 21 h 944"/>
                <a:gd name="T16" fmla="*/ 11 w 992"/>
                <a:gd name="T17" fmla="*/ 21 h 944"/>
                <a:gd name="T18" fmla="*/ 11 w 992"/>
                <a:gd name="T19" fmla="*/ 21 h 944"/>
                <a:gd name="T20" fmla="*/ 0 w 992"/>
                <a:gd name="T21" fmla="*/ 10 h 944"/>
                <a:gd name="T22" fmla="*/ 0 w 992"/>
                <a:gd name="T23" fmla="*/ 10 h 9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92"/>
                <a:gd name="T37" fmla="*/ 0 h 944"/>
                <a:gd name="T38" fmla="*/ 992 w 992"/>
                <a:gd name="T39" fmla="*/ 944 h 9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92" h="944">
                  <a:moveTo>
                    <a:pt x="0" y="472"/>
                  </a:moveTo>
                  <a:cubicBezTo>
                    <a:pt x="0" y="212"/>
                    <a:pt x="223" y="0"/>
                    <a:pt x="496" y="0"/>
                  </a:cubicBezTo>
                  <a:cubicBezTo>
                    <a:pt x="496" y="0"/>
                    <a:pt x="496" y="0"/>
                    <a:pt x="496" y="0"/>
                  </a:cubicBezTo>
                  <a:cubicBezTo>
                    <a:pt x="770" y="0"/>
                    <a:pt x="992" y="212"/>
                    <a:pt x="992" y="472"/>
                  </a:cubicBezTo>
                  <a:cubicBezTo>
                    <a:pt x="992" y="472"/>
                    <a:pt x="992" y="472"/>
                    <a:pt x="992" y="472"/>
                  </a:cubicBezTo>
                  <a:cubicBezTo>
                    <a:pt x="992" y="733"/>
                    <a:pt x="770" y="944"/>
                    <a:pt x="496" y="944"/>
                  </a:cubicBezTo>
                  <a:cubicBezTo>
                    <a:pt x="496" y="944"/>
                    <a:pt x="496" y="944"/>
                    <a:pt x="496" y="944"/>
                  </a:cubicBezTo>
                  <a:cubicBezTo>
                    <a:pt x="223" y="944"/>
                    <a:pt x="0" y="733"/>
                    <a:pt x="0" y="472"/>
                  </a:cubicBezTo>
                  <a:cubicBezTo>
                    <a:pt x="0" y="472"/>
                    <a:pt x="0" y="472"/>
                    <a:pt x="0" y="472"/>
                  </a:cubicBezTo>
                  <a:close/>
                </a:path>
              </a:pathLst>
            </a:custGeom>
            <a:solidFill>
              <a:srgbClr val="FFCC99"/>
            </a:solidFill>
            <a:ln w="0">
              <a:solidFill>
                <a:srgbClr val="000000"/>
              </a:solidFill>
              <a:round/>
              <a:headEnd/>
              <a:tailEnd/>
            </a:ln>
          </p:spPr>
          <p:txBody>
            <a:bodyPr/>
            <a:lstStyle/>
            <a:p>
              <a:endParaRPr lang="en-US"/>
            </a:p>
          </p:txBody>
        </p:sp>
        <p:sp>
          <p:nvSpPr>
            <p:cNvPr id="42076" name="Freeform 69"/>
            <p:cNvSpPr>
              <a:spLocks noEditPoints="1"/>
            </p:cNvSpPr>
            <p:nvPr/>
          </p:nvSpPr>
          <p:spPr bwMode="auto">
            <a:xfrm>
              <a:off x="2428" y="911"/>
              <a:ext cx="284" cy="270"/>
            </a:xfrm>
            <a:custGeom>
              <a:avLst/>
              <a:gdLst>
                <a:gd name="T0" fmla="*/ 0 w 1008"/>
                <a:gd name="T1" fmla="*/ 8 h 960"/>
                <a:gd name="T2" fmla="*/ 1 w 1008"/>
                <a:gd name="T3" fmla="*/ 6 h 960"/>
                <a:gd name="T4" fmla="*/ 3 w 1008"/>
                <a:gd name="T5" fmla="*/ 3 h 960"/>
                <a:gd name="T6" fmla="*/ 5 w 1008"/>
                <a:gd name="T7" fmla="*/ 2 h 960"/>
                <a:gd name="T8" fmla="*/ 9 w 1008"/>
                <a:gd name="T9" fmla="*/ 0 h 960"/>
                <a:gd name="T10" fmla="*/ 11 w 1008"/>
                <a:gd name="T11" fmla="*/ 0 h 960"/>
                <a:gd name="T12" fmla="*/ 16 w 1008"/>
                <a:gd name="T13" fmla="*/ 1 h 960"/>
                <a:gd name="T14" fmla="*/ 17 w 1008"/>
                <a:gd name="T15" fmla="*/ 2 h 960"/>
                <a:gd name="T16" fmla="*/ 21 w 1008"/>
                <a:gd name="T17" fmla="*/ 5 h 960"/>
                <a:gd name="T18" fmla="*/ 22 w 1008"/>
                <a:gd name="T19" fmla="*/ 6 h 960"/>
                <a:gd name="T20" fmla="*/ 23 w 1008"/>
                <a:gd name="T21" fmla="*/ 11 h 960"/>
                <a:gd name="T22" fmla="*/ 22 w 1008"/>
                <a:gd name="T23" fmla="*/ 13 h 960"/>
                <a:gd name="T24" fmla="*/ 21 w 1008"/>
                <a:gd name="T25" fmla="*/ 17 h 960"/>
                <a:gd name="T26" fmla="*/ 19 w 1008"/>
                <a:gd name="T27" fmla="*/ 18 h 960"/>
                <a:gd name="T28" fmla="*/ 16 w 1008"/>
                <a:gd name="T29" fmla="*/ 21 h 960"/>
                <a:gd name="T30" fmla="*/ 14 w 1008"/>
                <a:gd name="T31" fmla="*/ 21 h 960"/>
                <a:gd name="T32" fmla="*/ 9 w 1008"/>
                <a:gd name="T33" fmla="*/ 21 h 960"/>
                <a:gd name="T34" fmla="*/ 7 w 1008"/>
                <a:gd name="T35" fmla="*/ 21 h 960"/>
                <a:gd name="T36" fmla="*/ 3 w 1008"/>
                <a:gd name="T37" fmla="*/ 18 h 960"/>
                <a:gd name="T38" fmla="*/ 2 w 1008"/>
                <a:gd name="T39" fmla="*/ 17 h 960"/>
                <a:gd name="T40" fmla="*/ 0 w 1008"/>
                <a:gd name="T41" fmla="*/ 13 h 960"/>
                <a:gd name="T42" fmla="*/ 1 w 1008"/>
                <a:gd name="T43" fmla="*/ 13 h 960"/>
                <a:gd name="T44" fmla="*/ 1 w 1008"/>
                <a:gd name="T45" fmla="*/ 15 h 960"/>
                <a:gd name="T46" fmla="*/ 4 w 1008"/>
                <a:gd name="T47" fmla="*/ 18 h 960"/>
                <a:gd name="T48" fmla="*/ 5 w 1008"/>
                <a:gd name="T49" fmla="*/ 19 h 960"/>
                <a:gd name="T50" fmla="*/ 9 w 1008"/>
                <a:gd name="T51" fmla="*/ 21 h 960"/>
                <a:gd name="T52" fmla="*/ 11 w 1008"/>
                <a:gd name="T53" fmla="*/ 21 h 960"/>
                <a:gd name="T54" fmla="*/ 15 w 1008"/>
                <a:gd name="T55" fmla="*/ 20 h 960"/>
                <a:gd name="T56" fmla="*/ 17 w 1008"/>
                <a:gd name="T57" fmla="*/ 19 h 960"/>
                <a:gd name="T58" fmla="*/ 20 w 1008"/>
                <a:gd name="T59" fmla="*/ 17 h 960"/>
                <a:gd name="T60" fmla="*/ 21 w 1008"/>
                <a:gd name="T61" fmla="*/ 15 h 960"/>
                <a:gd name="T62" fmla="*/ 22 w 1008"/>
                <a:gd name="T63" fmla="*/ 11 h 960"/>
                <a:gd name="T64" fmla="*/ 22 w 1008"/>
                <a:gd name="T65" fmla="*/ 9 h 960"/>
                <a:gd name="T66" fmla="*/ 20 w 1008"/>
                <a:gd name="T67" fmla="*/ 5 h 960"/>
                <a:gd name="T68" fmla="*/ 19 w 1008"/>
                <a:gd name="T69" fmla="*/ 3 h 960"/>
                <a:gd name="T70" fmla="*/ 15 w 1008"/>
                <a:gd name="T71" fmla="*/ 1 h 960"/>
                <a:gd name="T72" fmla="*/ 14 w 1008"/>
                <a:gd name="T73" fmla="*/ 1 h 960"/>
                <a:gd name="T74" fmla="*/ 9 w 1008"/>
                <a:gd name="T75" fmla="*/ 1 h 960"/>
                <a:gd name="T76" fmla="*/ 7 w 1008"/>
                <a:gd name="T77" fmla="*/ 1 h 960"/>
                <a:gd name="T78" fmla="*/ 4 w 1008"/>
                <a:gd name="T79" fmla="*/ 3 h 960"/>
                <a:gd name="T80" fmla="*/ 2 w 1008"/>
                <a:gd name="T81" fmla="*/ 5 h 960"/>
                <a:gd name="T82" fmla="*/ 1 w 1008"/>
                <a:gd name="T83" fmla="*/ 9 h 960"/>
                <a:gd name="T84" fmla="*/ 0 w 1008"/>
                <a:gd name="T85" fmla="*/ 11 h 9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8"/>
                <a:gd name="T130" fmla="*/ 0 h 960"/>
                <a:gd name="T131" fmla="*/ 1008 w 1008"/>
                <a:gd name="T132" fmla="*/ 960 h 9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8" h="960">
                  <a:moveTo>
                    <a:pt x="1" y="481"/>
                  </a:moveTo>
                  <a:cubicBezTo>
                    <a:pt x="0" y="481"/>
                    <a:pt x="0" y="480"/>
                    <a:pt x="1" y="480"/>
                  </a:cubicBezTo>
                  <a:lnTo>
                    <a:pt x="11" y="385"/>
                  </a:lnTo>
                  <a:cubicBezTo>
                    <a:pt x="11" y="384"/>
                    <a:pt x="11" y="384"/>
                    <a:pt x="11" y="383"/>
                  </a:cubicBezTo>
                  <a:lnTo>
                    <a:pt x="40" y="295"/>
                  </a:lnTo>
                  <a:cubicBezTo>
                    <a:pt x="40" y="294"/>
                    <a:pt x="40" y="294"/>
                    <a:pt x="41" y="294"/>
                  </a:cubicBezTo>
                  <a:lnTo>
                    <a:pt x="87" y="213"/>
                  </a:lnTo>
                  <a:cubicBezTo>
                    <a:pt x="87" y="212"/>
                    <a:pt x="87" y="212"/>
                    <a:pt x="87" y="211"/>
                  </a:cubicBezTo>
                  <a:lnTo>
                    <a:pt x="148" y="142"/>
                  </a:lnTo>
                  <a:cubicBezTo>
                    <a:pt x="149" y="142"/>
                    <a:pt x="149" y="141"/>
                    <a:pt x="149" y="141"/>
                  </a:cubicBezTo>
                  <a:lnTo>
                    <a:pt x="222" y="83"/>
                  </a:lnTo>
                  <a:cubicBezTo>
                    <a:pt x="223" y="83"/>
                    <a:pt x="223" y="83"/>
                    <a:pt x="224" y="82"/>
                  </a:cubicBezTo>
                  <a:lnTo>
                    <a:pt x="308" y="38"/>
                  </a:lnTo>
                  <a:cubicBezTo>
                    <a:pt x="308" y="38"/>
                    <a:pt x="309" y="38"/>
                    <a:pt x="309" y="38"/>
                  </a:cubicBezTo>
                  <a:lnTo>
                    <a:pt x="402" y="11"/>
                  </a:lnTo>
                  <a:cubicBezTo>
                    <a:pt x="403" y="11"/>
                    <a:pt x="403" y="11"/>
                    <a:pt x="404" y="11"/>
                  </a:cubicBezTo>
                  <a:lnTo>
                    <a:pt x="504" y="1"/>
                  </a:lnTo>
                  <a:cubicBezTo>
                    <a:pt x="504" y="0"/>
                    <a:pt x="505" y="0"/>
                    <a:pt x="505" y="1"/>
                  </a:cubicBezTo>
                  <a:lnTo>
                    <a:pt x="605" y="11"/>
                  </a:lnTo>
                  <a:cubicBezTo>
                    <a:pt x="606" y="11"/>
                    <a:pt x="606" y="11"/>
                    <a:pt x="607" y="11"/>
                  </a:cubicBezTo>
                  <a:lnTo>
                    <a:pt x="700" y="38"/>
                  </a:lnTo>
                  <a:cubicBezTo>
                    <a:pt x="700" y="38"/>
                    <a:pt x="701" y="38"/>
                    <a:pt x="701" y="38"/>
                  </a:cubicBezTo>
                  <a:lnTo>
                    <a:pt x="785" y="82"/>
                  </a:lnTo>
                  <a:cubicBezTo>
                    <a:pt x="786" y="83"/>
                    <a:pt x="786" y="83"/>
                    <a:pt x="786" y="83"/>
                  </a:cubicBezTo>
                  <a:lnTo>
                    <a:pt x="860" y="141"/>
                  </a:lnTo>
                  <a:cubicBezTo>
                    <a:pt x="861" y="141"/>
                    <a:pt x="861" y="142"/>
                    <a:pt x="862" y="142"/>
                  </a:cubicBezTo>
                  <a:lnTo>
                    <a:pt x="922" y="211"/>
                  </a:lnTo>
                  <a:cubicBezTo>
                    <a:pt x="922" y="212"/>
                    <a:pt x="922" y="212"/>
                    <a:pt x="922" y="213"/>
                  </a:cubicBezTo>
                  <a:lnTo>
                    <a:pt x="968" y="294"/>
                  </a:lnTo>
                  <a:cubicBezTo>
                    <a:pt x="969" y="294"/>
                    <a:pt x="969" y="294"/>
                    <a:pt x="969" y="295"/>
                  </a:cubicBezTo>
                  <a:lnTo>
                    <a:pt x="998" y="383"/>
                  </a:lnTo>
                  <a:cubicBezTo>
                    <a:pt x="998" y="384"/>
                    <a:pt x="998" y="384"/>
                    <a:pt x="998" y="385"/>
                  </a:cubicBezTo>
                  <a:lnTo>
                    <a:pt x="1008" y="480"/>
                  </a:lnTo>
                  <a:cubicBezTo>
                    <a:pt x="1008" y="480"/>
                    <a:pt x="1008" y="481"/>
                    <a:pt x="1008" y="481"/>
                  </a:cubicBezTo>
                  <a:lnTo>
                    <a:pt x="998" y="576"/>
                  </a:lnTo>
                  <a:cubicBezTo>
                    <a:pt x="998" y="577"/>
                    <a:pt x="998" y="577"/>
                    <a:pt x="998" y="578"/>
                  </a:cubicBezTo>
                  <a:lnTo>
                    <a:pt x="969" y="667"/>
                  </a:lnTo>
                  <a:cubicBezTo>
                    <a:pt x="969" y="667"/>
                    <a:pt x="969" y="668"/>
                    <a:pt x="968" y="668"/>
                  </a:cubicBezTo>
                  <a:lnTo>
                    <a:pt x="922" y="748"/>
                  </a:lnTo>
                  <a:cubicBezTo>
                    <a:pt x="922" y="749"/>
                    <a:pt x="922" y="749"/>
                    <a:pt x="922" y="750"/>
                  </a:cubicBezTo>
                  <a:lnTo>
                    <a:pt x="862" y="820"/>
                  </a:lnTo>
                  <a:cubicBezTo>
                    <a:pt x="861" y="820"/>
                    <a:pt x="861" y="820"/>
                    <a:pt x="860" y="821"/>
                  </a:cubicBezTo>
                  <a:lnTo>
                    <a:pt x="786" y="878"/>
                  </a:lnTo>
                  <a:cubicBezTo>
                    <a:pt x="786" y="878"/>
                    <a:pt x="786" y="878"/>
                    <a:pt x="785" y="879"/>
                  </a:cubicBezTo>
                  <a:lnTo>
                    <a:pt x="701" y="923"/>
                  </a:lnTo>
                  <a:cubicBezTo>
                    <a:pt x="701" y="923"/>
                    <a:pt x="700" y="923"/>
                    <a:pt x="700" y="923"/>
                  </a:cubicBezTo>
                  <a:lnTo>
                    <a:pt x="607" y="950"/>
                  </a:lnTo>
                  <a:cubicBezTo>
                    <a:pt x="606" y="950"/>
                    <a:pt x="606" y="950"/>
                    <a:pt x="605" y="950"/>
                  </a:cubicBezTo>
                  <a:lnTo>
                    <a:pt x="505" y="960"/>
                  </a:lnTo>
                  <a:cubicBezTo>
                    <a:pt x="505" y="960"/>
                    <a:pt x="504" y="960"/>
                    <a:pt x="504" y="960"/>
                  </a:cubicBezTo>
                  <a:lnTo>
                    <a:pt x="404" y="950"/>
                  </a:lnTo>
                  <a:cubicBezTo>
                    <a:pt x="403" y="950"/>
                    <a:pt x="403" y="950"/>
                    <a:pt x="402" y="950"/>
                  </a:cubicBezTo>
                  <a:lnTo>
                    <a:pt x="309" y="923"/>
                  </a:lnTo>
                  <a:cubicBezTo>
                    <a:pt x="309" y="923"/>
                    <a:pt x="308" y="923"/>
                    <a:pt x="308" y="923"/>
                  </a:cubicBezTo>
                  <a:lnTo>
                    <a:pt x="224" y="879"/>
                  </a:lnTo>
                  <a:cubicBezTo>
                    <a:pt x="223" y="878"/>
                    <a:pt x="223" y="878"/>
                    <a:pt x="223" y="878"/>
                  </a:cubicBezTo>
                  <a:lnTo>
                    <a:pt x="150" y="821"/>
                  </a:lnTo>
                  <a:cubicBezTo>
                    <a:pt x="149" y="820"/>
                    <a:pt x="149" y="820"/>
                    <a:pt x="148" y="820"/>
                  </a:cubicBezTo>
                  <a:lnTo>
                    <a:pt x="87" y="750"/>
                  </a:lnTo>
                  <a:cubicBezTo>
                    <a:pt x="87" y="749"/>
                    <a:pt x="87" y="749"/>
                    <a:pt x="87" y="748"/>
                  </a:cubicBezTo>
                  <a:lnTo>
                    <a:pt x="41" y="668"/>
                  </a:lnTo>
                  <a:cubicBezTo>
                    <a:pt x="40" y="668"/>
                    <a:pt x="40" y="667"/>
                    <a:pt x="40" y="667"/>
                  </a:cubicBezTo>
                  <a:lnTo>
                    <a:pt x="11" y="578"/>
                  </a:lnTo>
                  <a:cubicBezTo>
                    <a:pt x="11" y="577"/>
                    <a:pt x="11" y="577"/>
                    <a:pt x="11" y="576"/>
                  </a:cubicBezTo>
                  <a:lnTo>
                    <a:pt x="1" y="481"/>
                  </a:lnTo>
                  <a:close/>
                  <a:moveTo>
                    <a:pt x="26" y="575"/>
                  </a:moveTo>
                  <a:lnTo>
                    <a:pt x="26" y="573"/>
                  </a:lnTo>
                  <a:lnTo>
                    <a:pt x="55" y="662"/>
                  </a:lnTo>
                  <a:lnTo>
                    <a:pt x="54" y="660"/>
                  </a:lnTo>
                  <a:lnTo>
                    <a:pt x="100" y="740"/>
                  </a:lnTo>
                  <a:lnTo>
                    <a:pt x="100" y="739"/>
                  </a:lnTo>
                  <a:lnTo>
                    <a:pt x="161" y="809"/>
                  </a:lnTo>
                  <a:lnTo>
                    <a:pt x="159" y="808"/>
                  </a:lnTo>
                  <a:lnTo>
                    <a:pt x="232" y="865"/>
                  </a:lnTo>
                  <a:lnTo>
                    <a:pt x="231" y="864"/>
                  </a:lnTo>
                  <a:lnTo>
                    <a:pt x="315" y="908"/>
                  </a:lnTo>
                  <a:lnTo>
                    <a:pt x="314" y="908"/>
                  </a:lnTo>
                  <a:lnTo>
                    <a:pt x="407" y="935"/>
                  </a:lnTo>
                  <a:lnTo>
                    <a:pt x="405" y="934"/>
                  </a:lnTo>
                  <a:lnTo>
                    <a:pt x="505" y="944"/>
                  </a:lnTo>
                  <a:lnTo>
                    <a:pt x="504" y="944"/>
                  </a:lnTo>
                  <a:lnTo>
                    <a:pt x="604" y="934"/>
                  </a:lnTo>
                  <a:lnTo>
                    <a:pt x="602" y="935"/>
                  </a:lnTo>
                  <a:lnTo>
                    <a:pt x="695" y="908"/>
                  </a:lnTo>
                  <a:lnTo>
                    <a:pt x="694" y="908"/>
                  </a:lnTo>
                  <a:lnTo>
                    <a:pt x="778" y="864"/>
                  </a:lnTo>
                  <a:lnTo>
                    <a:pt x="777" y="865"/>
                  </a:lnTo>
                  <a:lnTo>
                    <a:pt x="851" y="808"/>
                  </a:lnTo>
                  <a:lnTo>
                    <a:pt x="849" y="809"/>
                  </a:lnTo>
                  <a:lnTo>
                    <a:pt x="909" y="739"/>
                  </a:lnTo>
                  <a:lnTo>
                    <a:pt x="909" y="740"/>
                  </a:lnTo>
                  <a:lnTo>
                    <a:pt x="955" y="660"/>
                  </a:lnTo>
                  <a:lnTo>
                    <a:pt x="954" y="662"/>
                  </a:lnTo>
                  <a:lnTo>
                    <a:pt x="983" y="573"/>
                  </a:lnTo>
                  <a:lnTo>
                    <a:pt x="983" y="575"/>
                  </a:lnTo>
                  <a:lnTo>
                    <a:pt x="993" y="480"/>
                  </a:lnTo>
                  <a:lnTo>
                    <a:pt x="993" y="481"/>
                  </a:lnTo>
                  <a:lnTo>
                    <a:pt x="983" y="386"/>
                  </a:lnTo>
                  <a:lnTo>
                    <a:pt x="983" y="388"/>
                  </a:lnTo>
                  <a:lnTo>
                    <a:pt x="954" y="300"/>
                  </a:lnTo>
                  <a:lnTo>
                    <a:pt x="955" y="301"/>
                  </a:lnTo>
                  <a:lnTo>
                    <a:pt x="909" y="220"/>
                  </a:lnTo>
                  <a:lnTo>
                    <a:pt x="909" y="222"/>
                  </a:lnTo>
                  <a:lnTo>
                    <a:pt x="849" y="153"/>
                  </a:lnTo>
                  <a:lnTo>
                    <a:pt x="851" y="154"/>
                  </a:lnTo>
                  <a:lnTo>
                    <a:pt x="777" y="96"/>
                  </a:lnTo>
                  <a:lnTo>
                    <a:pt x="778" y="97"/>
                  </a:lnTo>
                  <a:lnTo>
                    <a:pt x="694" y="53"/>
                  </a:lnTo>
                  <a:lnTo>
                    <a:pt x="695" y="53"/>
                  </a:lnTo>
                  <a:lnTo>
                    <a:pt x="602" y="26"/>
                  </a:lnTo>
                  <a:lnTo>
                    <a:pt x="604" y="26"/>
                  </a:lnTo>
                  <a:lnTo>
                    <a:pt x="504" y="16"/>
                  </a:lnTo>
                  <a:lnTo>
                    <a:pt x="505" y="16"/>
                  </a:lnTo>
                  <a:lnTo>
                    <a:pt x="405" y="26"/>
                  </a:lnTo>
                  <a:lnTo>
                    <a:pt x="407" y="26"/>
                  </a:lnTo>
                  <a:lnTo>
                    <a:pt x="314" y="53"/>
                  </a:lnTo>
                  <a:lnTo>
                    <a:pt x="315" y="53"/>
                  </a:lnTo>
                  <a:lnTo>
                    <a:pt x="231" y="97"/>
                  </a:lnTo>
                  <a:lnTo>
                    <a:pt x="232" y="96"/>
                  </a:lnTo>
                  <a:lnTo>
                    <a:pt x="159" y="154"/>
                  </a:lnTo>
                  <a:lnTo>
                    <a:pt x="160" y="153"/>
                  </a:lnTo>
                  <a:lnTo>
                    <a:pt x="99" y="222"/>
                  </a:lnTo>
                  <a:lnTo>
                    <a:pt x="100" y="220"/>
                  </a:lnTo>
                  <a:lnTo>
                    <a:pt x="54" y="301"/>
                  </a:lnTo>
                  <a:lnTo>
                    <a:pt x="55" y="300"/>
                  </a:lnTo>
                  <a:lnTo>
                    <a:pt x="26" y="388"/>
                  </a:lnTo>
                  <a:lnTo>
                    <a:pt x="26" y="386"/>
                  </a:lnTo>
                  <a:lnTo>
                    <a:pt x="16" y="481"/>
                  </a:lnTo>
                  <a:lnTo>
                    <a:pt x="16" y="480"/>
                  </a:lnTo>
                  <a:lnTo>
                    <a:pt x="26" y="575"/>
                  </a:lnTo>
                  <a:close/>
                </a:path>
              </a:pathLst>
            </a:custGeom>
            <a:solidFill>
              <a:srgbClr val="000000"/>
            </a:solidFill>
            <a:ln w="0">
              <a:solidFill>
                <a:srgbClr val="000000"/>
              </a:solidFill>
              <a:round/>
              <a:headEnd/>
              <a:tailEnd/>
            </a:ln>
          </p:spPr>
          <p:txBody>
            <a:bodyPr/>
            <a:lstStyle/>
            <a:p>
              <a:endParaRPr lang="en-US"/>
            </a:p>
          </p:txBody>
        </p:sp>
        <p:sp>
          <p:nvSpPr>
            <p:cNvPr id="42077" name="Freeform 70"/>
            <p:cNvSpPr>
              <a:spLocks/>
            </p:cNvSpPr>
            <p:nvPr/>
          </p:nvSpPr>
          <p:spPr bwMode="auto">
            <a:xfrm>
              <a:off x="2431" y="914"/>
              <a:ext cx="279" cy="265"/>
            </a:xfrm>
            <a:custGeom>
              <a:avLst/>
              <a:gdLst>
                <a:gd name="T0" fmla="*/ 0 w 992"/>
                <a:gd name="T1" fmla="*/ 10 h 944"/>
                <a:gd name="T2" fmla="*/ 11 w 992"/>
                <a:gd name="T3" fmla="*/ 0 h 944"/>
                <a:gd name="T4" fmla="*/ 11 w 992"/>
                <a:gd name="T5" fmla="*/ 0 h 944"/>
                <a:gd name="T6" fmla="*/ 11 w 992"/>
                <a:gd name="T7" fmla="*/ 0 h 944"/>
                <a:gd name="T8" fmla="*/ 22 w 992"/>
                <a:gd name="T9" fmla="*/ 10 h 944"/>
                <a:gd name="T10" fmla="*/ 22 w 992"/>
                <a:gd name="T11" fmla="*/ 10 h 944"/>
                <a:gd name="T12" fmla="*/ 22 w 992"/>
                <a:gd name="T13" fmla="*/ 10 h 944"/>
                <a:gd name="T14" fmla="*/ 11 w 992"/>
                <a:gd name="T15" fmla="*/ 21 h 944"/>
                <a:gd name="T16" fmla="*/ 11 w 992"/>
                <a:gd name="T17" fmla="*/ 21 h 944"/>
                <a:gd name="T18" fmla="*/ 11 w 992"/>
                <a:gd name="T19" fmla="*/ 21 h 944"/>
                <a:gd name="T20" fmla="*/ 0 w 992"/>
                <a:gd name="T21" fmla="*/ 10 h 944"/>
                <a:gd name="T22" fmla="*/ 0 w 992"/>
                <a:gd name="T23" fmla="*/ 10 h 9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92"/>
                <a:gd name="T37" fmla="*/ 0 h 944"/>
                <a:gd name="T38" fmla="*/ 992 w 992"/>
                <a:gd name="T39" fmla="*/ 944 h 9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92" h="944">
                  <a:moveTo>
                    <a:pt x="0" y="472"/>
                  </a:moveTo>
                  <a:cubicBezTo>
                    <a:pt x="0" y="212"/>
                    <a:pt x="223" y="0"/>
                    <a:pt x="496" y="0"/>
                  </a:cubicBezTo>
                  <a:cubicBezTo>
                    <a:pt x="496" y="0"/>
                    <a:pt x="496" y="0"/>
                    <a:pt x="496" y="0"/>
                  </a:cubicBezTo>
                  <a:cubicBezTo>
                    <a:pt x="770" y="0"/>
                    <a:pt x="992" y="212"/>
                    <a:pt x="992" y="472"/>
                  </a:cubicBezTo>
                  <a:cubicBezTo>
                    <a:pt x="992" y="472"/>
                    <a:pt x="992" y="472"/>
                    <a:pt x="992" y="472"/>
                  </a:cubicBezTo>
                  <a:cubicBezTo>
                    <a:pt x="992" y="733"/>
                    <a:pt x="770" y="944"/>
                    <a:pt x="496" y="944"/>
                  </a:cubicBezTo>
                  <a:cubicBezTo>
                    <a:pt x="496" y="944"/>
                    <a:pt x="496" y="944"/>
                    <a:pt x="496" y="944"/>
                  </a:cubicBezTo>
                  <a:cubicBezTo>
                    <a:pt x="223" y="944"/>
                    <a:pt x="0" y="733"/>
                    <a:pt x="0" y="472"/>
                  </a:cubicBezTo>
                  <a:cubicBezTo>
                    <a:pt x="0" y="472"/>
                    <a:pt x="0" y="472"/>
                    <a:pt x="0" y="472"/>
                  </a:cubicBezTo>
                  <a:close/>
                </a:path>
              </a:pathLst>
            </a:custGeom>
            <a:solidFill>
              <a:srgbClr val="FF0000"/>
            </a:solidFill>
            <a:ln w="0">
              <a:solidFill>
                <a:srgbClr val="000000"/>
              </a:solidFill>
              <a:round/>
              <a:headEnd/>
              <a:tailEnd/>
            </a:ln>
          </p:spPr>
          <p:txBody>
            <a:bodyPr/>
            <a:lstStyle/>
            <a:p>
              <a:endParaRPr lang="en-US"/>
            </a:p>
          </p:txBody>
        </p:sp>
        <p:sp>
          <p:nvSpPr>
            <p:cNvPr id="42078" name="Freeform 71"/>
            <p:cNvSpPr>
              <a:spLocks noEditPoints="1"/>
            </p:cNvSpPr>
            <p:nvPr/>
          </p:nvSpPr>
          <p:spPr bwMode="auto">
            <a:xfrm>
              <a:off x="2428" y="911"/>
              <a:ext cx="284" cy="270"/>
            </a:xfrm>
            <a:custGeom>
              <a:avLst/>
              <a:gdLst>
                <a:gd name="T0" fmla="*/ 0 w 1008"/>
                <a:gd name="T1" fmla="*/ 8 h 960"/>
                <a:gd name="T2" fmla="*/ 1 w 1008"/>
                <a:gd name="T3" fmla="*/ 6 h 960"/>
                <a:gd name="T4" fmla="*/ 3 w 1008"/>
                <a:gd name="T5" fmla="*/ 3 h 960"/>
                <a:gd name="T6" fmla="*/ 5 w 1008"/>
                <a:gd name="T7" fmla="*/ 2 h 960"/>
                <a:gd name="T8" fmla="*/ 9 w 1008"/>
                <a:gd name="T9" fmla="*/ 0 h 960"/>
                <a:gd name="T10" fmla="*/ 11 w 1008"/>
                <a:gd name="T11" fmla="*/ 0 h 960"/>
                <a:gd name="T12" fmla="*/ 16 w 1008"/>
                <a:gd name="T13" fmla="*/ 1 h 960"/>
                <a:gd name="T14" fmla="*/ 17 w 1008"/>
                <a:gd name="T15" fmla="*/ 2 h 960"/>
                <a:gd name="T16" fmla="*/ 21 w 1008"/>
                <a:gd name="T17" fmla="*/ 5 h 960"/>
                <a:gd name="T18" fmla="*/ 22 w 1008"/>
                <a:gd name="T19" fmla="*/ 6 h 960"/>
                <a:gd name="T20" fmla="*/ 23 w 1008"/>
                <a:gd name="T21" fmla="*/ 11 h 960"/>
                <a:gd name="T22" fmla="*/ 22 w 1008"/>
                <a:gd name="T23" fmla="*/ 13 h 960"/>
                <a:gd name="T24" fmla="*/ 21 w 1008"/>
                <a:gd name="T25" fmla="*/ 17 h 960"/>
                <a:gd name="T26" fmla="*/ 19 w 1008"/>
                <a:gd name="T27" fmla="*/ 18 h 960"/>
                <a:gd name="T28" fmla="*/ 16 w 1008"/>
                <a:gd name="T29" fmla="*/ 21 h 960"/>
                <a:gd name="T30" fmla="*/ 14 w 1008"/>
                <a:gd name="T31" fmla="*/ 21 h 960"/>
                <a:gd name="T32" fmla="*/ 9 w 1008"/>
                <a:gd name="T33" fmla="*/ 21 h 960"/>
                <a:gd name="T34" fmla="*/ 7 w 1008"/>
                <a:gd name="T35" fmla="*/ 21 h 960"/>
                <a:gd name="T36" fmla="*/ 3 w 1008"/>
                <a:gd name="T37" fmla="*/ 18 h 960"/>
                <a:gd name="T38" fmla="*/ 2 w 1008"/>
                <a:gd name="T39" fmla="*/ 17 h 960"/>
                <a:gd name="T40" fmla="*/ 0 w 1008"/>
                <a:gd name="T41" fmla="*/ 13 h 960"/>
                <a:gd name="T42" fmla="*/ 1 w 1008"/>
                <a:gd name="T43" fmla="*/ 13 h 960"/>
                <a:gd name="T44" fmla="*/ 1 w 1008"/>
                <a:gd name="T45" fmla="*/ 15 h 960"/>
                <a:gd name="T46" fmla="*/ 4 w 1008"/>
                <a:gd name="T47" fmla="*/ 18 h 960"/>
                <a:gd name="T48" fmla="*/ 5 w 1008"/>
                <a:gd name="T49" fmla="*/ 19 h 960"/>
                <a:gd name="T50" fmla="*/ 9 w 1008"/>
                <a:gd name="T51" fmla="*/ 21 h 960"/>
                <a:gd name="T52" fmla="*/ 11 w 1008"/>
                <a:gd name="T53" fmla="*/ 21 h 960"/>
                <a:gd name="T54" fmla="*/ 15 w 1008"/>
                <a:gd name="T55" fmla="*/ 20 h 960"/>
                <a:gd name="T56" fmla="*/ 17 w 1008"/>
                <a:gd name="T57" fmla="*/ 19 h 960"/>
                <a:gd name="T58" fmla="*/ 20 w 1008"/>
                <a:gd name="T59" fmla="*/ 17 h 960"/>
                <a:gd name="T60" fmla="*/ 21 w 1008"/>
                <a:gd name="T61" fmla="*/ 15 h 960"/>
                <a:gd name="T62" fmla="*/ 22 w 1008"/>
                <a:gd name="T63" fmla="*/ 11 h 960"/>
                <a:gd name="T64" fmla="*/ 22 w 1008"/>
                <a:gd name="T65" fmla="*/ 9 h 960"/>
                <a:gd name="T66" fmla="*/ 20 w 1008"/>
                <a:gd name="T67" fmla="*/ 5 h 960"/>
                <a:gd name="T68" fmla="*/ 19 w 1008"/>
                <a:gd name="T69" fmla="*/ 3 h 960"/>
                <a:gd name="T70" fmla="*/ 15 w 1008"/>
                <a:gd name="T71" fmla="*/ 1 h 960"/>
                <a:gd name="T72" fmla="*/ 14 w 1008"/>
                <a:gd name="T73" fmla="*/ 1 h 960"/>
                <a:gd name="T74" fmla="*/ 9 w 1008"/>
                <a:gd name="T75" fmla="*/ 1 h 960"/>
                <a:gd name="T76" fmla="*/ 7 w 1008"/>
                <a:gd name="T77" fmla="*/ 1 h 960"/>
                <a:gd name="T78" fmla="*/ 4 w 1008"/>
                <a:gd name="T79" fmla="*/ 3 h 960"/>
                <a:gd name="T80" fmla="*/ 2 w 1008"/>
                <a:gd name="T81" fmla="*/ 5 h 960"/>
                <a:gd name="T82" fmla="*/ 1 w 1008"/>
                <a:gd name="T83" fmla="*/ 9 h 960"/>
                <a:gd name="T84" fmla="*/ 0 w 1008"/>
                <a:gd name="T85" fmla="*/ 11 h 9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8"/>
                <a:gd name="T130" fmla="*/ 0 h 960"/>
                <a:gd name="T131" fmla="*/ 1008 w 1008"/>
                <a:gd name="T132" fmla="*/ 960 h 9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8" h="960">
                  <a:moveTo>
                    <a:pt x="1" y="481"/>
                  </a:moveTo>
                  <a:cubicBezTo>
                    <a:pt x="0" y="481"/>
                    <a:pt x="0" y="480"/>
                    <a:pt x="1" y="480"/>
                  </a:cubicBezTo>
                  <a:lnTo>
                    <a:pt x="11" y="385"/>
                  </a:lnTo>
                  <a:cubicBezTo>
                    <a:pt x="11" y="384"/>
                    <a:pt x="11" y="384"/>
                    <a:pt x="11" y="383"/>
                  </a:cubicBezTo>
                  <a:lnTo>
                    <a:pt x="40" y="295"/>
                  </a:lnTo>
                  <a:cubicBezTo>
                    <a:pt x="40" y="294"/>
                    <a:pt x="40" y="294"/>
                    <a:pt x="41" y="294"/>
                  </a:cubicBezTo>
                  <a:lnTo>
                    <a:pt x="87" y="213"/>
                  </a:lnTo>
                  <a:cubicBezTo>
                    <a:pt x="87" y="212"/>
                    <a:pt x="87" y="212"/>
                    <a:pt x="87" y="211"/>
                  </a:cubicBezTo>
                  <a:lnTo>
                    <a:pt x="148" y="142"/>
                  </a:lnTo>
                  <a:cubicBezTo>
                    <a:pt x="149" y="142"/>
                    <a:pt x="149" y="141"/>
                    <a:pt x="149" y="141"/>
                  </a:cubicBezTo>
                  <a:lnTo>
                    <a:pt x="222" y="83"/>
                  </a:lnTo>
                  <a:cubicBezTo>
                    <a:pt x="223" y="83"/>
                    <a:pt x="223" y="83"/>
                    <a:pt x="224" y="82"/>
                  </a:cubicBezTo>
                  <a:lnTo>
                    <a:pt x="308" y="38"/>
                  </a:lnTo>
                  <a:cubicBezTo>
                    <a:pt x="308" y="38"/>
                    <a:pt x="309" y="38"/>
                    <a:pt x="309" y="38"/>
                  </a:cubicBezTo>
                  <a:lnTo>
                    <a:pt x="402" y="11"/>
                  </a:lnTo>
                  <a:cubicBezTo>
                    <a:pt x="403" y="11"/>
                    <a:pt x="403" y="11"/>
                    <a:pt x="404" y="11"/>
                  </a:cubicBezTo>
                  <a:lnTo>
                    <a:pt x="504" y="1"/>
                  </a:lnTo>
                  <a:cubicBezTo>
                    <a:pt x="504" y="0"/>
                    <a:pt x="505" y="0"/>
                    <a:pt x="505" y="1"/>
                  </a:cubicBezTo>
                  <a:lnTo>
                    <a:pt x="605" y="11"/>
                  </a:lnTo>
                  <a:cubicBezTo>
                    <a:pt x="606" y="11"/>
                    <a:pt x="606" y="11"/>
                    <a:pt x="607" y="11"/>
                  </a:cubicBezTo>
                  <a:lnTo>
                    <a:pt x="700" y="38"/>
                  </a:lnTo>
                  <a:cubicBezTo>
                    <a:pt x="700" y="38"/>
                    <a:pt x="701" y="38"/>
                    <a:pt x="701" y="38"/>
                  </a:cubicBezTo>
                  <a:lnTo>
                    <a:pt x="785" y="82"/>
                  </a:lnTo>
                  <a:cubicBezTo>
                    <a:pt x="786" y="83"/>
                    <a:pt x="786" y="83"/>
                    <a:pt x="786" y="83"/>
                  </a:cubicBezTo>
                  <a:lnTo>
                    <a:pt x="860" y="141"/>
                  </a:lnTo>
                  <a:cubicBezTo>
                    <a:pt x="861" y="141"/>
                    <a:pt x="861" y="142"/>
                    <a:pt x="862" y="142"/>
                  </a:cubicBezTo>
                  <a:lnTo>
                    <a:pt x="922" y="211"/>
                  </a:lnTo>
                  <a:cubicBezTo>
                    <a:pt x="922" y="212"/>
                    <a:pt x="922" y="212"/>
                    <a:pt x="922" y="213"/>
                  </a:cubicBezTo>
                  <a:lnTo>
                    <a:pt x="968" y="294"/>
                  </a:lnTo>
                  <a:cubicBezTo>
                    <a:pt x="969" y="294"/>
                    <a:pt x="969" y="294"/>
                    <a:pt x="969" y="295"/>
                  </a:cubicBezTo>
                  <a:lnTo>
                    <a:pt x="998" y="383"/>
                  </a:lnTo>
                  <a:cubicBezTo>
                    <a:pt x="998" y="384"/>
                    <a:pt x="998" y="384"/>
                    <a:pt x="998" y="385"/>
                  </a:cubicBezTo>
                  <a:lnTo>
                    <a:pt x="1008" y="480"/>
                  </a:lnTo>
                  <a:cubicBezTo>
                    <a:pt x="1008" y="480"/>
                    <a:pt x="1008" y="481"/>
                    <a:pt x="1008" y="481"/>
                  </a:cubicBezTo>
                  <a:lnTo>
                    <a:pt x="998" y="576"/>
                  </a:lnTo>
                  <a:cubicBezTo>
                    <a:pt x="998" y="577"/>
                    <a:pt x="998" y="577"/>
                    <a:pt x="998" y="578"/>
                  </a:cubicBezTo>
                  <a:lnTo>
                    <a:pt x="969" y="667"/>
                  </a:lnTo>
                  <a:cubicBezTo>
                    <a:pt x="969" y="667"/>
                    <a:pt x="969" y="668"/>
                    <a:pt x="968" y="668"/>
                  </a:cubicBezTo>
                  <a:lnTo>
                    <a:pt x="922" y="748"/>
                  </a:lnTo>
                  <a:cubicBezTo>
                    <a:pt x="922" y="749"/>
                    <a:pt x="922" y="749"/>
                    <a:pt x="922" y="750"/>
                  </a:cubicBezTo>
                  <a:lnTo>
                    <a:pt x="862" y="820"/>
                  </a:lnTo>
                  <a:cubicBezTo>
                    <a:pt x="861" y="820"/>
                    <a:pt x="861" y="820"/>
                    <a:pt x="860" y="821"/>
                  </a:cubicBezTo>
                  <a:lnTo>
                    <a:pt x="786" y="878"/>
                  </a:lnTo>
                  <a:cubicBezTo>
                    <a:pt x="786" y="878"/>
                    <a:pt x="786" y="878"/>
                    <a:pt x="785" y="879"/>
                  </a:cubicBezTo>
                  <a:lnTo>
                    <a:pt x="701" y="923"/>
                  </a:lnTo>
                  <a:cubicBezTo>
                    <a:pt x="701" y="923"/>
                    <a:pt x="700" y="923"/>
                    <a:pt x="700" y="923"/>
                  </a:cubicBezTo>
                  <a:lnTo>
                    <a:pt x="607" y="950"/>
                  </a:lnTo>
                  <a:cubicBezTo>
                    <a:pt x="606" y="950"/>
                    <a:pt x="606" y="950"/>
                    <a:pt x="605" y="950"/>
                  </a:cubicBezTo>
                  <a:lnTo>
                    <a:pt x="505" y="960"/>
                  </a:lnTo>
                  <a:cubicBezTo>
                    <a:pt x="505" y="960"/>
                    <a:pt x="504" y="960"/>
                    <a:pt x="504" y="960"/>
                  </a:cubicBezTo>
                  <a:lnTo>
                    <a:pt x="404" y="950"/>
                  </a:lnTo>
                  <a:cubicBezTo>
                    <a:pt x="403" y="950"/>
                    <a:pt x="403" y="950"/>
                    <a:pt x="402" y="950"/>
                  </a:cubicBezTo>
                  <a:lnTo>
                    <a:pt x="309" y="923"/>
                  </a:lnTo>
                  <a:cubicBezTo>
                    <a:pt x="309" y="923"/>
                    <a:pt x="308" y="923"/>
                    <a:pt x="308" y="923"/>
                  </a:cubicBezTo>
                  <a:lnTo>
                    <a:pt x="224" y="879"/>
                  </a:lnTo>
                  <a:cubicBezTo>
                    <a:pt x="223" y="878"/>
                    <a:pt x="223" y="878"/>
                    <a:pt x="223" y="878"/>
                  </a:cubicBezTo>
                  <a:lnTo>
                    <a:pt x="150" y="821"/>
                  </a:lnTo>
                  <a:cubicBezTo>
                    <a:pt x="149" y="820"/>
                    <a:pt x="149" y="820"/>
                    <a:pt x="148" y="820"/>
                  </a:cubicBezTo>
                  <a:lnTo>
                    <a:pt x="87" y="750"/>
                  </a:lnTo>
                  <a:cubicBezTo>
                    <a:pt x="87" y="749"/>
                    <a:pt x="87" y="749"/>
                    <a:pt x="87" y="748"/>
                  </a:cubicBezTo>
                  <a:lnTo>
                    <a:pt x="41" y="668"/>
                  </a:lnTo>
                  <a:cubicBezTo>
                    <a:pt x="40" y="668"/>
                    <a:pt x="40" y="667"/>
                    <a:pt x="40" y="667"/>
                  </a:cubicBezTo>
                  <a:lnTo>
                    <a:pt x="11" y="578"/>
                  </a:lnTo>
                  <a:cubicBezTo>
                    <a:pt x="11" y="577"/>
                    <a:pt x="11" y="577"/>
                    <a:pt x="11" y="576"/>
                  </a:cubicBezTo>
                  <a:lnTo>
                    <a:pt x="1" y="481"/>
                  </a:lnTo>
                  <a:close/>
                  <a:moveTo>
                    <a:pt x="26" y="575"/>
                  </a:moveTo>
                  <a:lnTo>
                    <a:pt x="26" y="573"/>
                  </a:lnTo>
                  <a:lnTo>
                    <a:pt x="55" y="662"/>
                  </a:lnTo>
                  <a:lnTo>
                    <a:pt x="54" y="660"/>
                  </a:lnTo>
                  <a:lnTo>
                    <a:pt x="100" y="740"/>
                  </a:lnTo>
                  <a:lnTo>
                    <a:pt x="100" y="739"/>
                  </a:lnTo>
                  <a:lnTo>
                    <a:pt x="161" y="809"/>
                  </a:lnTo>
                  <a:lnTo>
                    <a:pt x="159" y="808"/>
                  </a:lnTo>
                  <a:lnTo>
                    <a:pt x="232" y="865"/>
                  </a:lnTo>
                  <a:lnTo>
                    <a:pt x="231" y="864"/>
                  </a:lnTo>
                  <a:lnTo>
                    <a:pt x="315" y="908"/>
                  </a:lnTo>
                  <a:lnTo>
                    <a:pt x="314" y="908"/>
                  </a:lnTo>
                  <a:lnTo>
                    <a:pt x="407" y="935"/>
                  </a:lnTo>
                  <a:lnTo>
                    <a:pt x="405" y="934"/>
                  </a:lnTo>
                  <a:lnTo>
                    <a:pt x="505" y="944"/>
                  </a:lnTo>
                  <a:lnTo>
                    <a:pt x="504" y="944"/>
                  </a:lnTo>
                  <a:lnTo>
                    <a:pt x="604" y="934"/>
                  </a:lnTo>
                  <a:lnTo>
                    <a:pt x="602" y="935"/>
                  </a:lnTo>
                  <a:lnTo>
                    <a:pt x="695" y="908"/>
                  </a:lnTo>
                  <a:lnTo>
                    <a:pt x="694" y="908"/>
                  </a:lnTo>
                  <a:lnTo>
                    <a:pt x="778" y="864"/>
                  </a:lnTo>
                  <a:lnTo>
                    <a:pt x="777" y="865"/>
                  </a:lnTo>
                  <a:lnTo>
                    <a:pt x="851" y="808"/>
                  </a:lnTo>
                  <a:lnTo>
                    <a:pt x="849" y="809"/>
                  </a:lnTo>
                  <a:lnTo>
                    <a:pt x="909" y="739"/>
                  </a:lnTo>
                  <a:lnTo>
                    <a:pt x="909" y="740"/>
                  </a:lnTo>
                  <a:lnTo>
                    <a:pt x="955" y="660"/>
                  </a:lnTo>
                  <a:lnTo>
                    <a:pt x="954" y="662"/>
                  </a:lnTo>
                  <a:lnTo>
                    <a:pt x="983" y="573"/>
                  </a:lnTo>
                  <a:lnTo>
                    <a:pt x="983" y="575"/>
                  </a:lnTo>
                  <a:lnTo>
                    <a:pt x="993" y="480"/>
                  </a:lnTo>
                  <a:lnTo>
                    <a:pt x="993" y="481"/>
                  </a:lnTo>
                  <a:lnTo>
                    <a:pt x="983" y="386"/>
                  </a:lnTo>
                  <a:lnTo>
                    <a:pt x="983" y="388"/>
                  </a:lnTo>
                  <a:lnTo>
                    <a:pt x="954" y="300"/>
                  </a:lnTo>
                  <a:lnTo>
                    <a:pt x="955" y="301"/>
                  </a:lnTo>
                  <a:lnTo>
                    <a:pt x="909" y="220"/>
                  </a:lnTo>
                  <a:lnTo>
                    <a:pt x="909" y="222"/>
                  </a:lnTo>
                  <a:lnTo>
                    <a:pt x="849" y="153"/>
                  </a:lnTo>
                  <a:lnTo>
                    <a:pt x="851" y="154"/>
                  </a:lnTo>
                  <a:lnTo>
                    <a:pt x="777" y="96"/>
                  </a:lnTo>
                  <a:lnTo>
                    <a:pt x="778" y="97"/>
                  </a:lnTo>
                  <a:lnTo>
                    <a:pt x="694" y="53"/>
                  </a:lnTo>
                  <a:lnTo>
                    <a:pt x="695" y="53"/>
                  </a:lnTo>
                  <a:lnTo>
                    <a:pt x="602" y="26"/>
                  </a:lnTo>
                  <a:lnTo>
                    <a:pt x="604" y="26"/>
                  </a:lnTo>
                  <a:lnTo>
                    <a:pt x="504" y="16"/>
                  </a:lnTo>
                  <a:lnTo>
                    <a:pt x="505" y="16"/>
                  </a:lnTo>
                  <a:lnTo>
                    <a:pt x="405" y="26"/>
                  </a:lnTo>
                  <a:lnTo>
                    <a:pt x="407" y="26"/>
                  </a:lnTo>
                  <a:lnTo>
                    <a:pt x="314" y="53"/>
                  </a:lnTo>
                  <a:lnTo>
                    <a:pt x="315" y="53"/>
                  </a:lnTo>
                  <a:lnTo>
                    <a:pt x="231" y="97"/>
                  </a:lnTo>
                  <a:lnTo>
                    <a:pt x="232" y="96"/>
                  </a:lnTo>
                  <a:lnTo>
                    <a:pt x="159" y="154"/>
                  </a:lnTo>
                  <a:lnTo>
                    <a:pt x="160" y="153"/>
                  </a:lnTo>
                  <a:lnTo>
                    <a:pt x="99" y="222"/>
                  </a:lnTo>
                  <a:lnTo>
                    <a:pt x="100" y="220"/>
                  </a:lnTo>
                  <a:lnTo>
                    <a:pt x="54" y="301"/>
                  </a:lnTo>
                  <a:lnTo>
                    <a:pt x="55" y="300"/>
                  </a:lnTo>
                  <a:lnTo>
                    <a:pt x="26" y="388"/>
                  </a:lnTo>
                  <a:lnTo>
                    <a:pt x="26" y="386"/>
                  </a:lnTo>
                  <a:lnTo>
                    <a:pt x="16" y="481"/>
                  </a:lnTo>
                  <a:lnTo>
                    <a:pt x="16" y="480"/>
                  </a:lnTo>
                  <a:lnTo>
                    <a:pt x="26" y="575"/>
                  </a:lnTo>
                  <a:close/>
                </a:path>
              </a:pathLst>
            </a:custGeom>
            <a:solidFill>
              <a:srgbClr val="000000"/>
            </a:solidFill>
            <a:ln w="0">
              <a:solidFill>
                <a:srgbClr val="000000"/>
              </a:solidFill>
              <a:round/>
              <a:headEnd/>
              <a:tailEnd/>
            </a:ln>
          </p:spPr>
          <p:txBody>
            <a:bodyPr/>
            <a:lstStyle/>
            <a:p>
              <a:endParaRPr lang="en-US"/>
            </a:p>
          </p:txBody>
        </p:sp>
        <p:sp>
          <p:nvSpPr>
            <p:cNvPr id="42079" name="Rectangle 72"/>
            <p:cNvSpPr>
              <a:spLocks noChangeArrowheads="1"/>
            </p:cNvSpPr>
            <p:nvPr/>
          </p:nvSpPr>
          <p:spPr bwMode="auto">
            <a:xfrm>
              <a:off x="2519" y="986"/>
              <a:ext cx="140" cy="108"/>
            </a:xfrm>
            <a:prstGeom prst="rect">
              <a:avLst/>
            </a:prstGeom>
            <a:noFill/>
            <a:ln w="9525">
              <a:noFill/>
              <a:miter lim="800000"/>
              <a:headEnd/>
              <a:tailEnd/>
            </a:ln>
          </p:spPr>
          <p:txBody>
            <a:bodyPr wrap="none" lIns="0" tIns="0" rIns="0" bIns="0">
              <a:spAutoFit/>
            </a:bodyPr>
            <a:lstStyle/>
            <a:p>
              <a:r>
                <a:rPr lang="en-US" sz="1000">
                  <a:solidFill>
                    <a:srgbClr val="000000"/>
                  </a:solidFill>
                </a:rPr>
                <a:t>NL</a:t>
              </a:r>
              <a:endParaRPr lang="en-US"/>
            </a:p>
          </p:txBody>
        </p:sp>
        <p:sp>
          <p:nvSpPr>
            <p:cNvPr id="42080" name="Freeform 74"/>
            <p:cNvSpPr>
              <a:spLocks noEditPoints="1"/>
            </p:cNvSpPr>
            <p:nvPr/>
          </p:nvSpPr>
          <p:spPr bwMode="auto">
            <a:xfrm>
              <a:off x="2554" y="1857"/>
              <a:ext cx="284" cy="270"/>
            </a:xfrm>
            <a:custGeom>
              <a:avLst/>
              <a:gdLst>
                <a:gd name="T0" fmla="*/ 0 w 1008"/>
                <a:gd name="T1" fmla="*/ 8 h 960"/>
                <a:gd name="T2" fmla="*/ 1 w 1008"/>
                <a:gd name="T3" fmla="*/ 6 h 960"/>
                <a:gd name="T4" fmla="*/ 3 w 1008"/>
                <a:gd name="T5" fmla="*/ 3 h 960"/>
                <a:gd name="T6" fmla="*/ 5 w 1008"/>
                <a:gd name="T7" fmla="*/ 2 h 960"/>
                <a:gd name="T8" fmla="*/ 9 w 1008"/>
                <a:gd name="T9" fmla="*/ 0 h 960"/>
                <a:gd name="T10" fmla="*/ 11 w 1008"/>
                <a:gd name="T11" fmla="*/ 0 h 960"/>
                <a:gd name="T12" fmla="*/ 16 w 1008"/>
                <a:gd name="T13" fmla="*/ 1 h 960"/>
                <a:gd name="T14" fmla="*/ 17 w 1008"/>
                <a:gd name="T15" fmla="*/ 2 h 960"/>
                <a:gd name="T16" fmla="*/ 21 w 1008"/>
                <a:gd name="T17" fmla="*/ 5 h 960"/>
                <a:gd name="T18" fmla="*/ 22 w 1008"/>
                <a:gd name="T19" fmla="*/ 6 h 960"/>
                <a:gd name="T20" fmla="*/ 23 w 1008"/>
                <a:gd name="T21" fmla="*/ 11 h 960"/>
                <a:gd name="T22" fmla="*/ 22 w 1008"/>
                <a:gd name="T23" fmla="*/ 13 h 960"/>
                <a:gd name="T24" fmla="*/ 21 w 1008"/>
                <a:gd name="T25" fmla="*/ 17 h 960"/>
                <a:gd name="T26" fmla="*/ 19 w 1008"/>
                <a:gd name="T27" fmla="*/ 18 h 960"/>
                <a:gd name="T28" fmla="*/ 16 w 1008"/>
                <a:gd name="T29" fmla="*/ 21 h 960"/>
                <a:gd name="T30" fmla="*/ 14 w 1008"/>
                <a:gd name="T31" fmla="*/ 21 h 960"/>
                <a:gd name="T32" fmla="*/ 9 w 1008"/>
                <a:gd name="T33" fmla="*/ 21 h 960"/>
                <a:gd name="T34" fmla="*/ 7 w 1008"/>
                <a:gd name="T35" fmla="*/ 21 h 960"/>
                <a:gd name="T36" fmla="*/ 3 w 1008"/>
                <a:gd name="T37" fmla="*/ 18 h 960"/>
                <a:gd name="T38" fmla="*/ 2 w 1008"/>
                <a:gd name="T39" fmla="*/ 17 h 960"/>
                <a:gd name="T40" fmla="*/ 0 w 1008"/>
                <a:gd name="T41" fmla="*/ 13 h 960"/>
                <a:gd name="T42" fmla="*/ 1 w 1008"/>
                <a:gd name="T43" fmla="*/ 13 h 960"/>
                <a:gd name="T44" fmla="*/ 1 w 1008"/>
                <a:gd name="T45" fmla="*/ 15 h 960"/>
                <a:gd name="T46" fmla="*/ 4 w 1008"/>
                <a:gd name="T47" fmla="*/ 18 h 960"/>
                <a:gd name="T48" fmla="*/ 5 w 1008"/>
                <a:gd name="T49" fmla="*/ 19 h 960"/>
                <a:gd name="T50" fmla="*/ 9 w 1008"/>
                <a:gd name="T51" fmla="*/ 21 h 960"/>
                <a:gd name="T52" fmla="*/ 11 w 1008"/>
                <a:gd name="T53" fmla="*/ 21 h 960"/>
                <a:gd name="T54" fmla="*/ 15 w 1008"/>
                <a:gd name="T55" fmla="*/ 20 h 960"/>
                <a:gd name="T56" fmla="*/ 17 w 1008"/>
                <a:gd name="T57" fmla="*/ 19 h 960"/>
                <a:gd name="T58" fmla="*/ 20 w 1008"/>
                <a:gd name="T59" fmla="*/ 17 h 960"/>
                <a:gd name="T60" fmla="*/ 21 w 1008"/>
                <a:gd name="T61" fmla="*/ 15 h 960"/>
                <a:gd name="T62" fmla="*/ 22 w 1008"/>
                <a:gd name="T63" fmla="*/ 11 h 960"/>
                <a:gd name="T64" fmla="*/ 22 w 1008"/>
                <a:gd name="T65" fmla="*/ 9 h 960"/>
                <a:gd name="T66" fmla="*/ 20 w 1008"/>
                <a:gd name="T67" fmla="*/ 5 h 960"/>
                <a:gd name="T68" fmla="*/ 19 w 1008"/>
                <a:gd name="T69" fmla="*/ 3 h 960"/>
                <a:gd name="T70" fmla="*/ 15 w 1008"/>
                <a:gd name="T71" fmla="*/ 1 h 960"/>
                <a:gd name="T72" fmla="*/ 14 w 1008"/>
                <a:gd name="T73" fmla="*/ 1 h 960"/>
                <a:gd name="T74" fmla="*/ 9 w 1008"/>
                <a:gd name="T75" fmla="*/ 1 h 960"/>
                <a:gd name="T76" fmla="*/ 7 w 1008"/>
                <a:gd name="T77" fmla="*/ 1 h 960"/>
                <a:gd name="T78" fmla="*/ 4 w 1008"/>
                <a:gd name="T79" fmla="*/ 3 h 960"/>
                <a:gd name="T80" fmla="*/ 2 w 1008"/>
                <a:gd name="T81" fmla="*/ 5 h 960"/>
                <a:gd name="T82" fmla="*/ 1 w 1008"/>
                <a:gd name="T83" fmla="*/ 9 h 960"/>
                <a:gd name="T84" fmla="*/ 0 w 1008"/>
                <a:gd name="T85" fmla="*/ 11 h 9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8"/>
                <a:gd name="T130" fmla="*/ 0 h 960"/>
                <a:gd name="T131" fmla="*/ 1008 w 1008"/>
                <a:gd name="T132" fmla="*/ 960 h 9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8" h="960">
                  <a:moveTo>
                    <a:pt x="1" y="481"/>
                  </a:moveTo>
                  <a:cubicBezTo>
                    <a:pt x="0" y="481"/>
                    <a:pt x="0" y="480"/>
                    <a:pt x="1" y="480"/>
                  </a:cubicBezTo>
                  <a:lnTo>
                    <a:pt x="11" y="385"/>
                  </a:lnTo>
                  <a:cubicBezTo>
                    <a:pt x="11" y="384"/>
                    <a:pt x="11" y="384"/>
                    <a:pt x="11" y="383"/>
                  </a:cubicBezTo>
                  <a:lnTo>
                    <a:pt x="40" y="295"/>
                  </a:lnTo>
                  <a:cubicBezTo>
                    <a:pt x="40" y="294"/>
                    <a:pt x="40" y="294"/>
                    <a:pt x="41" y="294"/>
                  </a:cubicBezTo>
                  <a:lnTo>
                    <a:pt x="87" y="213"/>
                  </a:lnTo>
                  <a:cubicBezTo>
                    <a:pt x="87" y="212"/>
                    <a:pt x="87" y="212"/>
                    <a:pt x="87" y="211"/>
                  </a:cubicBezTo>
                  <a:lnTo>
                    <a:pt x="148" y="142"/>
                  </a:lnTo>
                  <a:cubicBezTo>
                    <a:pt x="149" y="142"/>
                    <a:pt x="149" y="141"/>
                    <a:pt x="149" y="141"/>
                  </a:cubicBezTo>
                  <a:lnTo>
                    <a:pt x="222" y="83"/>
                  </a:lnTo>
                  <a:cubicBezTo>
                    <a:pt x="223" y="83"/>
                    <a:pt x="223" y="83"/>
                    <a:pt x="224" y="82"/>
                  </a:cubicBezTo>
                  <a:lnTo>
                    <a:pt x="308" y="38"/>
                  </a:lnTo>
                  <a:cubicBezTo>
                    <a:pt x="308" y="38"/>
                    <a:pt x="309" y="38"/>
                    <a:pt x="309" y="38"/>
                  </a:cubicBezTo>
                  <a:lnTo>
                    <a:pt x="402" y="11"/>
                  </a:lnTo>
                  <a:cubicBezTo>
                    <a:pt x="403" y="11"/>
                    <a:pt x="403" y="11"/>
                    <a:pt x="404" y="10"/>
                  </a:cubicBezTo>
                  <a:lnTo>
                    <a:pt x="504" y="0"/>
                  </a:lnTo>
                  <a:cubicBezTo>
                    <a:pt x="504" y="0"/>
                    <a:pt x="505" y="0"/>
                    <a:pt x="505" y="0"/>
                  </a:cubicBezTo>
                  <a:lnTo>
                    <a:pt x="605" y="10"/>
                  </a:lnTo>
                  <a:cubicBezTo>
                    <a:pt x="606" y="11"/>
                    <a:pt x="606" y="11"/>
                    <a:pt x="607" y="11"/>
                  </a:cubicBezTo>
                  <a:lnTo>
                    <a:pt x="700" y="38"/>
                  </a:lnTo>
                  <a:cubicBezTo>
                    <a:pt x="700" y="38"/>
                    <a:pt x="701" y="38"/>
                    <a:pt x="701" y="38"/>
                  </a:cubicBezTo>
                  <a:lnTo>
                    <a:pt x="785" y="82"/>
                  </a:lnTo>
                  <a:cubicBezTo>
                    <a:pt x="786" y="83"/>
                    <a:pt x="786" y="83"/>
                    <a:pt x="786" y="83"/>
                  </a:cubicBezTo>
                  <a:lnTo>
                    <a:pt x="860" y="141"/>
                  </a:lnTo>
                  <a:cubicBezTo>
                    <a:pt x="861" y="141"/>
                    <a:pt x="861" y="142"/>
                    <a:pt x="862" y="142"/>
                  </a:cubicBezTo>
                  <a:lnTo>
                    <a:pt x="922" y="211"/>
                  </a:lnTo>
                  <a:cubicBezTo>
                    <a:pt x="922" y="212"/>
                    <a:pt x="922" y="212"/>
                    <a:pt x="922" y="213"/>
                  </a:cubicBezTo>
                  <a:lnTo>
                    <a:pt x="968" y="294"/>
                  </a:lnTo>
                  <a:cubicBezTo>
                    <a:pt x="969" y="294"/>
                    <a:pt x="969" y="294"/>
                    <a:pt x="969" y="295"/>
                  </a:cubicBezTo>
                  <a:lnTo>
                    <a:pt x="998" y="383"/>
                  </a:lnTo>
                  <a:cubicBezTo>
                    <a:pt x="998" y="384"/>
                    <a:pt x="998" y="384"/>
                    <a:pt x="998" y="385"/>
                  </a:cubicBezTo>
                  <a:lnTo>
                    <a:pt x="1008" y="480"/>
                  </a:lnTo>
                  <a:cubicBezTo>
                    <a:pt x="1008" y="480"/>
                    <a:pt x="1008" y="481"/>
                    <a:pt x="1008" y="481"/>
                  </a:cubicBezTo>
                  <a:lnTo>
                    <a:pt x="998" y="576"/>
                  </a:lnTo>
                  <a:cubicBezTo>
                    <a:pt x="998" y="577"/>
                    <a:pt x="998" y="577"/>
                    <a:pt x="998" y="578"/>
                  </a:cubicBezTo>
                  <a:lnTo>
                    <a:pt x="969" y="667"/>
                  </a:lnTo>
                  <a:cubicBezTo>
                    <a:pt x="969" y="667"/>
                    <a:pt x="969" y="668"/>
                    <a:pt x="968" y="668"/>
                  </a:cubicBezTo>
                  <a:lnTo>
                    <a:pt x="922" y="748"/>
                  </a:lnTo>
                  <a:cubicBezTo>
                    <a:pt x="922" y="749"/>
                    <a:pt x="922" y="749"/>
                    <a:pt x="922" y="750"/>
                  </a:cubicBezTo>
                  <a:lnTo>
                    <a:pt x="862" y="820"/>
                  </a:lnTo>
                  <a:cubicBezTo>
                    <a:pt x="861" y="820"/>
                    <a:pt x="861" y="820"/>
                    <a:pt x="860" y="821"/>
                  </a:cubicBezTo>
                  <a:lnTo>
                    <a:pt x="786" y="878"/>
                  </a:lnTo>
                  <a:cubicBezTo>
                    <a:pt x="786" y="878"/>
                    <a:pt x="786" y="878"/>
                    <a:pt x="785" y="879"/>
                  </a:cubicBezTo>
                  <a:lnTo>
                    <a:pt x="701" y="923"/>
                  </a:lnTo>
                  <a:cubicBezTo>
                    <a:pt x="701" y="923"/>
                    <a:pt x="700" y="923"/>
                    <a:pt x="700" y="923"/>
                  </a:cubicBezTo>
                  <a:lnTo>
                    <a:pt x="607" y="950"/>
                  </a:lnTo>
                  <a:cubicBezTo>
                    <a:pt x="606" y="950"/>
                    <a:pt x="606" y="950"/>
                    <a:pt x="605" y="950"/>
                  </a:cubicBezTo>
                  <a:lnTo>
                    <a:pt x="505" y="960"/>
                  </a:lnTo>
                  <a:cubicBezTo>
                    <a:pt x="505" y="960"/>
                    <a:pt x="504" y="960"/>
                    <a:pt x="504" y="960"/>
                  </a:cubicBezTo>
                  <a:lnTo>
                    <a:pt x="404" y="950"/>
                  </a:lnTo>
                  <a:cubicBezTo>
                    <a:pt x="403" y="950"/>
                    <a:pt x="403" y="950"/>
                    <a:pt x="402" y="950"/>
                  </a:cubicBezTo>
                  <a:lnTo>
                    <a:pt x="309" y="923"/>
                  </a:lnTo>
                  <a:cubicBezTo>
                    <a:pt x="309" y="923"/>
                    <a:pt x="308" y="923"/>
                    <a:pt x="308" y="923"/>
                  </a:cubicBezTo>
                  <a:lnTo>
                    <a:pt x="224" y="879"/>
                  </a:lnTo>
                  <a:cubicBezTo>
                    <a:pt x="223" y="878"/>
                    <a:pt x="223" y="878"/>
                    <a:pt x="223" y="878"/>
                  </a:cubicBezTo>
                  <a:lnTo>
                    <a:pt x="150" y="821"/>
                  </a:lnTo>
                  <a:cubicBezTo>
                    <a:pt x="149" y="820"/>
                    <a:pt x="149" y="820"/>
                    <a:pt x="148" y="820"/>
                  </a:cubicBezTo>
                  <a:lnTo>
                    <a:pt x="87" y="750"/>
                  </a:lnTo>
                  <a:cubicBezTo>
                    <a:pt x="87" y="749"/>
                    <a:pt x="87" y="749"/>
                    <a:pt x="87" y="748"/>
                  </a:cubicBezTo>
                  <a:lnTo>
                    <a:pt x="41" y="668"/>
                  </a:lnTo>
                  <a:cubicBezTo>
                    <a:pt x="40" y="668"/>
                    <a:pt x="40" y="667"/>
                    <a:pt x="40" y="667"/>
                  </a:cubicBezTo>
                  <a:lnTo>
                    <a:pt x="11" y="578"/>
                  </a:lnTo>
                  <a:cubicBezTo>
                    <a:pt x="11" y="577"/>
                    <a:pt x="11" y="577"/>
                    <a:pt x="11" y="576"/>
                  </a:cubicBezTo>
                  <a:lnTo>
                    <a:pt x="1" y="481"/>
                  </a:lnTo>
                  <a:close/>
                  <a:moveTo>
                    <a:pt x="26" y="575"/>
                  </a:moveTo>
                  <a:lnTo>
                    <a:pt x="26" y="573"/>
                  </a:lnTo>
                  <a:lnTo>
                    <a:pt x="55" y="662"/>
                  </a:lnTo>
                  <a:lnTo>
                    <a:pt x="54" y="660"/>
                  </a:lnTo>
                  <a:lnTo>
                    <a:pt x="100" y="740"/>
                  </a:lnTo>
                  <a:lnTo>
                    <a:pt x="100" y="739"/>
                  </a:lnTo>
                  <a:lnTo>
                    <a:pt x="161" y="809"/>
                  </a:lnTo>
                  <a:lnTo>
                    <a:pt x="159" y="808"/>
                  </a:lnTo>
                  <a:lnTo>
                    <a:pt x="232" y="865"/>
                  </a:lnTo>
                  <a:lnTo>
                    <a:pt x="231" y="864"/>
                  </a:lnTo>
                  <a:lnTo>
                    <a:pt x="315" y="908"/>
                  </a:lnTo>
                  <a:lnTo>
                    <a:pt x="314" y="908"/>
                  </a:lnTo>
                  <a:lnTo>
                    <a:pt x="407" y="935"/>
                  </a:lnTo>
                  <a:lnTo>
                    <a:pt x="405" y="934"/>
                  </a:lnTo>
                  <a:lnTo>
                    <a:pt x="505" y="944"/>
                  </a:lnTo>
                  <a:lnTo>
                    <a:pt x="504" y="944"/>
                  </a:lnTo>
                  <a:lnTo>
                    <a:pt x="604" y="934"/>
                  </a:lnTo>
                  <a:lnTo>
                    <a:pt x="602" y="935"/>
                  </a:lnTo>
                  <a:lnTo>
                    <a:pt x="695" y="908"/>
                  </a:lnTo>
                  <a:lnTo>
                    <a:pt x="694" y="908"/>
                  </a:lnTo>
                  <a:lnTo>
                    <a:pt x="778" y="864"/>
                  </a:lnTo>
                  <a:lnTo>
                    <a:pt x="777" y="865"/>
                  </a:lnTo>
                  <a:lnTo>
                    <a:pt x="851" y="808"/>
                  </a:lnTo>
                  <a:lnTo>
                    <a:pt x="849" y="809"/>
                  </a:lnTo>
                  <a:lnTo>
                    <a:pt x="909" y="739"/>
                  </a:lnTo>
                  <a:lnTo>
                    <a:pt x="909" y="740"/>
                  </a:lnTo>
                  <a:lnTo>
                    <a:pt x="955" y="660"/>
                  </a:lnTo>
                  <a:lnTo>
                    <a:pt x="954" y="662"/>
                  </a:lnTo>
                  <a:lnTo>
                    <a:pt x="983" y="573"/>
                  </a:lnTo>
                  <a:lnTo>
                    <a:pt x="983" y="575"/>
                  </a:lnTo>
                  <a:lnTo>
                    <a:pt x="993" y="480"/>
                  </a:lnTo>
                  <a:lnTo>
                    <a:pt x="993" y="481"/>
                  </a:lnTo>
                  <a:lnTo>
                    <a:pt x="983" y="386"/>
                  </a:lnTo>
                  <a:lnTo>
                    <a:pt x="983" y="388"/>
                  </a:lnTo>
                  <a:lnTo>
                    <a:pt x="954" y="300"/>
                  </a:lnTo>
                  <a:lnTo>
                    <a:pt x="955" y="301"/>
                  </a:lnTo>
                  <a:lnTo>
                    <a:pt x="909" y="220"/>
                  </a:lnTo>
                  <a:lnTo>
                    <a:pt x="909" y="222"/>
                  </a:lnTo>
                  <a:lnTo>
                    <a:pt x="849" y="153"/>
                  </a:lnTo>
                  <a:lnTo>
                    <a:pt x="851" y="154"/>
                  </a:lnTo>
                  <a:lnTo>
                    <a:pt x="777" y="96"/>
                  </a:lnTo>
                  <a:lnTo>
                    <a:pt x="778" y="97"/>
                  </a:lnTo>
                  <a:lnTo>
                    <a:pt x="694" y="53"/>
                  </a:lnTo>
                  <a:lnTo>
                    <a:pt x="695" y="53"/>
                  </a:lnTo>
                  <a:lnTo>
                    <a:pt x="602" y="26"/>
                  </a:lnTo>
                  <a:lnTo>
                    <a:pt x="604" y="26"/>
                  </a:lnTo>
                  <a:lnTo>
                    <a:pt x="504" y="16"/>
                  </a:lnTo>
                  <a:lnTo>
                    <a:pt x="505" y="16"/>
                  </a:lnTo>
                  <a:lnTo>
                    <a:pt x="405" y="26"/>
                  </a:lnTo>
                  <a:lnTo>
                    <a:pt x="407" y="26"/>
                  </a:lnTo>
                  <a:lnTo>
                    <a:pt x="314" y="53"/>
                  </a:lnTo>
                  <a:lnTo>
                    <a:pt x="315" y="53"/>
                  </a:lnTo>
                  <a:lnTo>
                    <a:pt x="231" y="97"/>
                  </a:lnTo>
                  <a:lnTo>
                    <a:pt x="232" y="96"/>
                  </a:lnTo>
                  <a:lnTo>
                    <a:pt x="159" y="154"/>
                  </a:lnTo>
                  <a:lnTo>
                    <a:pt x="160" y="153"/>
                  </a:lnTo>
                  <a:lnTo>
                    <a:pt x="99" y="222"/>
                  </a:lnTo>
                  <a:lnTo>
                    <a:pt x="100" y="220"/>
                  </a:lnTo>
                  <a:lnTo>
                    <a:pt x="54" y="301"/>
                  </a:lnTo>
                  <a:lnTo>
                    <a:pt x="55" y="300"/>
                  </a:lnTo>
                  <a:lnTo>
                    <a:pt x="26" y="388"/>
                  </a:lnTo>
                  <a:lnTo>
                    <a:pt x="26" y="386"/>
                  </a:lnTo>
                  <a:lnTo>
                    <a:pt x="16" y="481"/>
                  </a:lnTo>
                  <a:lnTo>
                    <a:pt x="16" y="480"/>
                  </a:lnTo>
                  <a:lnTo>
                    <a:pt x="26" y="575"/>
                  </a:lnTo>
                  <a:close/>
                </a:path>
              </a:pathLst>
            </a:custGeom>
            <a:solidFill>
              <a:srgbClr val="000000"/>
            </a:solidFill>
            <a:ln w="0">
              <a:solidFill>
                <a:srgbClr val="000000"/>
              </a:solidFill>
              <a:round/>
              <a:headEnd/>
              <a:tailEnd/>
            </a:ln>
          </p:spPr>
          <p:txBody>
            <a:bodyPr/>
            <a:lstStyle/>
            <a:p>
              <a:endParaRPr lang="en-US"/>
            </a:p>
          </p:txBody>
        </p:sp>
        <p:sp>
          <p:nvSpPr>
            <p:cNvPr id="42081" name="Freeform 75"/>
            <p:cNvSpPr>
              <a:spLocks noEditPoints="1"/>
            </p:cNvSpPr>
            <p:nvPr/>
          </p:nvSpPr>
          <p:spPr bwMode="auto">
            <a:xfrm>
              <a:off x="2554" y="1857"/>
              <a:ext cx="284" cy="270"/>
            </a:xfrm>
            <a:custGeom>
              <a:avLst/>
              <a:gdLst>
                <a:gd name="T0" fmla="*/ 0 w 1008"/>
                <a:gd name="T1" fmla="*/ 8 h 960"/>
                <a:gd name="T2" fmla="*/ 1 w 1008"/>
                <a:gd name="T3" fmla="*/ 6 h 960"/>
                <a:gd name="T4" fmla="*/ 3 w 1008"/>
                <a:gd name="T5" fmla="*/ 3 h 960"/>
                <a:gd name="T6" fmla="*/ 5 w 1008"/>
                <a:gd name="T7" fmla="*/ 2 h 960"/>
                <a:gd name="T8" fmla="*/ 9 w 1008"/>
                <a:gd name="T9" fmla="*/ 0 h 960"/>
                <a:gd name="T10" fmla="*/ 11 w 1008"/>
                <a:gd name="T11" fmla="*/ 0 h 960"/>
                <a:gd name="T12" fmla="*/ 16 w 1008"/>
                <a:gd name="T13" fmla="*/ 1 h 960"/>
                <a:gd name="T14" fmla="*/ 17 w 1008"/>
                <a:gd name="T15" fmla="*/ 2 h 960"/>
                <a:gd name="T16" fmla="*/ 21 w 1008"/>
                <a:gd name="T17" fmla="*/ 5 h 960"/>
                <a:gd name="T18" fmla="*/ 22 w 1008"/>
                <a:gd name="T19" fmla="*/ 6 h 960"/>
                <a:gd name="T20" fmla="*/ 23 w 1008"/>
                <a:gd name="T21" fmla="*/ 11 h 960"/>
                <a:gd name="T22" fmla="*/ 22 w 1008"/>
                <a:gd name="T23" fmla="*/ 13 h 960"/>
                <a:gd name="T24" fmla="*/ 21 w 1008"/>
                <a:gd name="T25" fmla="*/ 17 h 960"/>
                <a:gd name="T26" fmla="*/ 19 w 1008"/>
                <a:gd name="T27" fmla="*/ 18 h 960"/>
                <a:gd name="T28" fmla="*/ 16 w 1008"/>
                <a:gd name="T29" fmla="*/ 21 h 960"/>
                <a:gd name="T30" fmla="*/ 14 w 1008"/>
                <a:gd name="T31" fmla="*/ 21 h 960"/>
                <a:gd name="T32" fmla="*/ 9 w 1008"/>
                <a:gd name="T33" fmla="*/ 21 h 960"/>
                <a:gd name="T34" fmla="*/ 7 w 1008"/>
                <a:gd name="T35" fmla="*/ 21 h 960"/>
                <a:gd name="T36" fmla="*/ 3 w 1008"/>
                <a:gd name="T37" fmla="*/ 18 h 960"/>
                <a:gd name="T38" fmla="*/ 2 w 1008"/>
                <a:gd name="T39" fmla="*/ 17 h 960"/>
                <a:gd name="T40" fmla="*/ 0 w 1008"/>
                <a:gd name="T41" fmla="*/ 13 h 960"/>
                <a:gd name="T42" fmla="*/ 1 w 1008"/>
                <a:gd name="T43" fmla="*/ 13 h 960"/>
                <a:gd name="T44" fmla="*/ 1 w 1008"/>
                <a:gd name="T45" fmla="*/ 15 h 960"/>
                <a:gd name="T46" fmla="*/ 4 w 1008"/>
                <a:gd name="T47" fmla="*/ 18 h 960"/>
                <a:gd name="T48" fmla="*/ 5 w 1008"/>
                <a:gd name="T49" fmla="*/ 19 h 960"/>
                <a:gd name="T50" fmla="*/ 9 w 1008"/>
                <a:gd name="T51" fmla="*/ 21 h 960"/>
                <a:gd name="T52" fmla="*/ 11 w 1008"/>
                <a:gd name="T53" fmla="*/ 21 h 960"/>
                <a:gd name="T54" fmla="*/ 15 w 1008"/>
                <a:gd name="T55" fmla="*/ 20 h 960"/>
                <a:gd name="T56" fmla="*/ 17 w 1008"/>
                <a:gd name="T57" fmla="*/ 19 h 960"/>
                <a:gd name="T58" fmla="*/ 20 w 1008"/>
                <a:gd name="T59" fmla="*/ 17 h 960"/>
                <a:gd name="T60" fmla="*/ 21 w 1008"/>
                <a:gd name="T61" fmla="*/ 15 h 960"/>
                <a:gd name="T62" fmla="*/ 22 w 1008"/>
                <a:gd name="T63" fmla="*/ 11 h 960"/>
                <a:gd name="T64" fmla="*/ 22 w 1008"/>
                <a:gd name="T65" fmla="*/ 9 h 960"/>
                <a:gd name="T66" fmla="*/ 20 w 1008"/>
                <a:gd name="T67" fmla="*/ 5 h 960"/>
                <a:gd name="T68" fmla="*/ 19 w 1008"/>
                <a:gd name="T69" fmla="*/ 3 h 960"/>
                <a:gd name="T70" fmla="*/ 15 w 1008"/>
                <a:gd name="T71" fmla="*/ 1 h 960"/>
                <a:gd name="T72" fmla="*/ 14 w 1008"/>
                <a:gd name="T73" fmla="*/ 1 h 960"/>
                <a:gd name="T74" fmla="*/ 9 w 1008"/>
                <a:gd name="T75" fmla="*/ 1 h 960"/>
                <a:gd name="T76" fmla="*/ 7 w 1008"/>
                <a:gd name="T77" fmla="*/ 1 h 960"/>
                <a:gd name="T78" fmla="*/ 4 w 1008"/>
                <a:gd name="T79" fmla="*/ 3 h 960"/>
                <a:gd name="T80" fmla="*/ 2 w 1008"/>
                <a:gd name="T81" fmla="*/ 5 h 960"/>
                <a:gd name="T82" fmla="*/ 1 w 1008"/>
                <a:gd name="T83" fmla="*/ 9 h 960"/>
                <a:gd name="T84" fmla="*/ 0 w 1008"/>
                <a:gd name="T85" fmla="*/ 11 h 9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8"/>
                <a:gd name="T130" fmla="*/ 0 h 960"/>
                <a:gd name="T131" fmla="*/ 1008 w 1008"/>
                <a:gd name="T132" fmla="*/ 960 h 9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8" h="960">
                  <a:moveTo>
                    <a:pt x="1" y="481"/>
                  </a:moveTo>
                  <a:cubicBezTo>
                    <a:pt x="0" y="481"/>
                    <a:pt x="0" y="480"/>
                    <a:pt x="1" y="480"/>
                  </a:cubicBezTo>
                  <a:lnTo>
                    <a:pt x="11" y="385"/>
                  </a:lnTo>
                  <a:cubicBezTo>
                    <a:pt x="11" y="384"/>
                    <a:pt x="11" y="384"/>
                    <a:pt x="11" y="383"/>
                  </a:cubicBezTo>
                  <a:lnTo>
                    <a:pt x="40" y="295"/>
                  </a:lnTo>
                  <a:cubicBezTo>
                    <a:pt x="40" y="294"/>
                    <a:pt x="40" y="294"/>
                    <a:pt x="41" y="294"/>
                  </a:cubicBezTo>
                  <a:lnTo>
                    <a:pt x="87" y="213"/>
                  </a:lnTo>
                  <a:cubicBezTo>
                    <a:pt x="87" y="212"/>
                    <a:pt x="87" y="212"/>
                    <a:pt x="87" y="211"/>
                  </a:cubicBezTo>
                  <a:lnTo>
                    <a:pt x="148" y="142"/>
                  </a:lnTo>
                  <a:cubicBezTo>
                    <a:pt x="149" y="142"/>
                    <a:pt x="149" y="141"/>
                    <a:pt x="149" y="141"/>
                  </a:cubicBezTo>
                  <a:lnTo>
                    <a:pt x="222" y="83"/>
                  </a:lnTo>
                  <a:cubicBezTo>
                    <a:pt x="223" y="83"/>
                    <a:pt x="223" y="83"/>
                    <a:pt x="224" y="82"/>
                  </a:cubicBezTo>
                  <a:lnTo>
                    <a:pt x="308" y="38"/>
                  </a:lnTo>
                  <a:cubicBezTo>
                    <a:pt x="308" y="38"/>
                    <a:pt x="309" y="38"/>
                    <a:pt x="309" y="38"/>
                  </a:cubicBezTo>
                  <a:lnTo>
                    <a:pt x="402" y="11"/>
                  </a:lnTo>
                  <a:cubicBezTo>
                    <a:pt x="403" y="11"/>
                    <a:pt x="403" y="11"/>
                    <a:pt x="404" y="10"/>
                  </a:cubicBezTo>
                  <a:lnTo>
                    <a:pt x="504" y="0"/>
                  </a:lnTo>
                  <a:cubicBezTo>
                    <a:pt x="504" y="0"/>
                    <a:pt x="505" y="0"/>
                    <a:pt x="505" y="0"/>
                  </a:cubicBezTo>
                  <a:lnTo>
                    <a:pt x="605" y="10"/>
                  </a:lnTo>
                  <a:cubicBezTo>
                    <a:pt x="606" y="11"/>
                    <a:pt x="606" y="11"/>
                    <a:pt x="607" y="11"/>
                  </a:cubicBezTo>
                  <a:lnTo>
                    <a:pt x="700" y="38"/>
                  </a:lnTo>
                  <a:cubicBezTo>
                    <a:pt x="700" y="38"/>
                    <a:pt x="701" y="38"/>
                    <a:pt x="701" y="38"/>
                  </a:cubicBezTo>
                  <a:lnTo>
                    <a:pt x="785" y="82"/>
                  </a:lnTo>
                  <a:cubicBezTo>
                    <a:pt x="786" y="83"/>
                    <a:pt x="786" y="83"/>
                    <a:pt x="786" y="83"/>
                  </a:cubicBezTo>
                  <a:lnTo>
                    <a:pt x="860" y="141"/>
                  </a:lnTo>
                  <a:cubicBezTo>
                    <a:pt x="861" y="141"/>
                    <a:pt x="861" y="142"/>
                    <a:pt x="862" y="142"/>
                  </a:cubicBezTo>
                  <a:lnTo>
                    <a:pt x="922" y="211"/>
                  </a:lnTo>
                  <a:cubicBezTo>
                    <a:pt x="922" y="212"/>
                    <a:pt x="922" y="212"/>
                    <a:pt x="922" y="213"/>
                  </a:cubicBezTo>
                  <a:lnTo>
                    <a:pt x="968" y="294"/>
                  </a:lnTo>
                  <a:cubicBezTo>
                    <a:pt x="969" y="294"/>
                    <a:pt x="969" y="294"/>
                    <a:pt x="969" y="295"/>
                  </a:cubicBezTo>
                  <a:lnTo>
                    <a:pt x="998" y="383"/>
                  </a:lnTo>
                  <a:cubicBezTo>
                    <a:pt x="998" y="384"/>
                    <a:pt x="998" y="384"/>
                    <a:pt x="998" y="385"/>
                  </a:cubicBezTo>
                  <a:lnTo>
                    <a:pt x="1008" y="480"/>
                  </a:lnTo>
                  <a:cubicBezTo>
                    <a:pt x="1008" y="480"/>
                    <a:pt x="1008" y="481"/>
                    <a:pt x="1008" y="481"/>
                  </a:cubicBezTo>
                  <a:lnTo>
                    <a:pt x="998" y="576"/>
                  </a:lnTo>
                  <a:cubicBezTo>
                    <a:pt x="998" y="577"/>
                    <a:pt x="998" y="577"/>
                    <a:pt x="998" y="578"/>
                  </a:cubicBezTo>
                  <a:lnTo>
                    <a:pt x="969" y="667"/>
                  </a:lnTo>
                  <a:cubicBezTo>
                    <a:pt x="969" y="667"/>
                    <a:pt x="969" y="668"/>
                    <a:pt x="968" y="668"/>
                  </a:cubicBezTo>
                  <a:lnTo>
                    <a:pt x="922" y="748"/>
                  </a:lnTo>
                  <a:cubicBezTo>
                    <a:pt x="922" y="749"/>
                    <a:pt x="922" y="749"/>
                    <a:pt x="922" y="750"/>
                  </a:cubicBezTo>
                  <a:lnTo>
                    <a:pt x="862" y="820"/>
                  </a:lnTo>
                  <a:cubicBezTo>
                    <a:pt x="861" y="820"/>
                    <a:pt x="861" y="820"/>
                    <a:pt x="860" y="821"/>
                  </a:cubicBezTo>
                  <a:lnTo>
                    <a:pt x="786" y="878"/>
                  </a:lnTo>
                  <a:cubicBezTo>
                    <a:pt x="786" y="878"/>
                    <a:pt x="786" y="878"/>
                    <a:pt x="785" y="879"/>
                  </a:cubicBezTo>
                  <a:lnTo>
                    <a:pt x="701" y="923"/>
                  </a:lnTo>
                  <a:cubicBezTo>
                    <a:pt x="701" y="923"/>
                    <a:pt x="700" y="923"/>
                    <a:pt x="700" y="923"/>
                  </a:cubicBezTo>
                  <a:lnTo>
                    <a:pt x="607" y="950"/>
                  </a:lnTo>
                  <a:cubicBezTo>
                    <a:pt x="606" y="950"/>
                    <a:pt x="606" y="950"/>
                    <a:pt x="605" y="950"/>
                  </a:cubicBezTo>
                  <a:lnTo>
                    <a:pt x="505" y="960"/>
                  </a:lnTo>
                  <a:cubicBezTo>
                    <a:pt x="505" y="960"/>
                    <a:pt x="504" y="960"/>
                    <a:pt x="504" y="960"/>
                  </a:cubicBezTo>
                  <a:lnTo>
                    <a:pt x="404" y="950"/>
                  </a:lnTo>
                  <a:cubicBezTo>
                    <a:pt x="403" y="950"/>
                    <a:pt x="403" y="950"/>
                    <a:pt x="402" y="950"/>
                  </a:cubicBezTo>
                  <a:lnTo>
                    <a:pt x="309" y="923"/>
                  </a:lnTo>
                  <a:cubicBezTo>
                    <a:pt x="309" y="923"/>
                    <a:pt x="308" y="923"/>
                    <a:pt x="308" y="923"/>
                  </a:cubicBezTo>
                  <a:lnTo>
                    <a:pt x="224" y="879"/>
                  </a:lnTo>
                  <a:cubicBezTo>
                    <a:pt x="223" y="878"/>
                    <a:pt x="223" y="878"/>
                    <a:pt x="223" y="878"/>
                  </a:cubicBezTo>
                  <a:lnTo>
                    <a:pt x="150" y="821"/>
                  </a:lnTo>
                  <a:cubicBezTo>
                    <a:pt x="149" y="820"/>
                    <a:pt x="149" y="820"/>
                    <a:pt x="148" y="820"/>
                  </a:cubicBezTo>
                  <a:lnTo>
                    <a:pt x="87" y="750"/>
                  </a:lnTo>
                  <a:cubicBezTo>
                    <a:pt x="87" y="749"/>
                    <a:pt x="87" y="749"/>
                    <a:pt x="87" y="748"/>
                  </a:cubicBezTo>
                  <a:lnTo>
                    <a:pt x="41" y="668"/>
                  </a:lnTo>
                  <a:cubicBezTo>
                    <a:pt x="40" y="668"/>
                    <a:pt x="40" y="667"/>
                    <a:pt x="40" y="667"/>
                  </a:cubicBezTo>
                  <a:lnTo>
                    <a:pt x="11" y="578"/>
                  </a:lnTo>
                  <a:cubicBezTo>
                    <a:pt x="11" y="577"/>
                    <a:pt x="11" y="577"/>
                    <a:pt x="11" y="576"/>
                  </a:cubicBezTo>
                  <a:lnTo>
                    <a:pt x="1" y="481"/>
                  </a:lnTo>
                  <a:close/>
                  <a:moveTo>
                    <a:pt x="26" y="575"/>
                  </a:moveTo>
                  <a:lnTo>
                    <a:pt x="26" y="573"/>
                  </a:lnTo>
                  <a:lnTo>
                    <a:pt x="55" y="662"/>
                  </a:lnTo>
                  <a:lnTo>
                    <a:pt x="54" y="660"/>
                  </a:lnTo>
                  <a:lnTo>
                    <a:pt x="100" y="740"/>
                  </a:lnTo>
                  <a:lnTo>
                    <a:pt x="100" y="739"/>
                  </a:lnTo>
                  <a:lnTo>
                    <a:pt x="161" y="809"/>
                  </a:lnTo>
                  <a:lnTo>
                    <a:pt x="159" y="808"/>
                  </a:lnTo>
                  <a:lnTo>
                    <a:pt x="232" y="865"/>
                  </a:lnTo>
                  <a:lnTo>
                    <a:pt x="231" y="864"/>
                  </a:lnTo>
                  <a:lnTo>
                    <a:pt x="315" y="908"/>
                  </a:lnTo>
                  <a:lnTo>
                    <a:pt x="314" y="908"/>
                  </a:lnTo>
                  <a:lnTo>
                    <a:pt x="407" y="935"/>
                  </a:lnTo>
                  <a:lnTo>
                    <a:pt x="405" y="934"/>
                  </a:lnTo>
                  <a:lnTo>
                    <a:pt x="505" y="944"/>
                  </a:lnTo>
                  <a:lnTo>
                    <a:pt x="504" y="944"/>
                  </a:lnTo>
                  <a:lnTo>
                    <a:pt x="604" y="934"/>
                  </a:lnTo>
                  <a:lnTo>
                    <a:pt x="602" y="935"/>
                  </a:lnTo>
                  <a:lnTo>
                    <a:pt x="695" y="908"/>
                  </a:lnTo>
                  <a:lnTo>
                    <a:pt x="694" y="908"/>
                  </a:lnTo>
                  <a:lnTo>
                    <a:pt x="778" y="864"/>
                  </a:lnTo>
                  <a:lnTo>
                    <a:pt x="777" y="865"/>
                  </a:lnTo>
                  <a:lnTo>
                    <a:pt x="851" y="808"/>
                  </a:lnTo>
                  <a:lnTo>
                    <a:pt x="849" y="809"/>
                  </a:lnTo>
                  <a:lnTo>
                    <a:pt x="909" y="739"/>
                  </a:lnTo>
                  <a:lnTo>
                    <a:pt x="909" y="740"/>
                  </a:lnTo>
                  <a:lnTo>
                    <a:pt x="955" y="660"/>
                  </a:lnTo>
                  <a:lnTo>
                    <a:pt x="954" y="662"/>
                  </a:lnTo>
                  <a:lnTo>
                    <a:pt x="983" y="573"/>
                  </a:lnTo>
                  <a:lnTo>
                    <a:pt x="983" y="575"/>
                  </a:lnTo>
                  <a:lnTo>
                    <a:pt x="993" y="480"/>
                  </a:lnTo>
                  <a:lnTo>
                    <a:pt x="993" y="481"/>
                  </a:lnTo>
                  <a:lnTo>
                    <a:pt x="983" y="386"/>
                  </a:lnTo>
                  <a:lnTo>
                    <a:pt x="983" y="388"/>
                  </a:lnTo>
                  <a:lnTo>
                    <a:pt x="954" y="300"/>
                  </a:lnTo>
                  <a:lnTo>
                    <a:pt x="955" y="301"/>
                  </a:lnTo>
                  <a:lnTo>
                    <a:pt x="909" y="220"/>
                  </a:lnTo>
                  <a:lnTo>
                    <a:pt x="909" y="222"/>
                  </a:lnTo>
                  <a:lnTo>
                    <a:pt x="849" y="153"/>
                  </a:lnTo>
                  <a:lnTo>
                    <a:pt x="851" y="154"/>
                  </a:lnTo>
                  <a:lnTo>
                    <a:pt x="777" y="96"/>
                  </a:lnTo>
                  <a:lnTo>
                    <a:pt x="778" y="97"/>
                  </a:lnTo>
                  <a:lnTo>
                    <a:pt x="694" y="53"/>
                  </a:lnTo>
                  <a:lnTo>
                    <a:pt x="695" y="53"/>
                  </a:lnTo>
                  <a:lnTo>
                    <a:pt x="602" y="26"/>
                  </a:lnTo>
                  <a:lnTo>
                    <a:pt x="604" y="26"/>
                  </a:lnTo>
                  <a:lnTo>
                    <a:pt x="504" y="16"/>
                  </a:lnTo>
                  <a:lnTo>
                    <a:pt x="505" y="16"/>
                  </a:lnTo>
                  <a:lnTo>
                    <a:pt x="405" y="26"/>
                  </a:lnTo>
                  <a:lnTo>
                    <a:pt x="407" y="26"/>
                  </a:lnTo>
                  <a:lnTo>
                    <a:pt x="314" y="53"/>
                  </a:lnTo>
                  <a:lnTo>
                    <a:pt x="315" y="53"/>
                  </a:lnTo>
                  <a:lnTo>
                    <a:pt x="231" y="97"/>
                  </a:lnTo>
                  <a:lnTo>
                    <a:pt x="232" y="96"/>
                  </a:lnTo>
                  <a:lnTo>
                    <a:pt x="159" y="154"/>
                  </a:lnTo>
                  <a:lnTo>
                    <a:pt x="160" y="153"/>
                  </a:lnTo>
                  <a:lnTo>
                    <a:pt x="99" y="222"/>
                  </a:lnTo>
                  <a:lnTo>
                    <a:pt x="100" y="220"/>
                  </a:lnTo>
                  <a:lnTo>
                    <a:pt x="54" y="301"/>
                  </a:lnTo>
                  <a:lnTo>
                    <a:pt x="55" y="300"/>
                  </a:lnTo>
                  <a:lnTo>
                    <a:pt x="26" y="388"/>
                  </a:lnTo>
                  <a:lnTo>
                    <a:pt x="26" y="386"/>
                  </a:lnTo>
                  <a:lnTo>
                    <a:pt x="16" y="481"/>
                  </a:lnTo>
                  <a:lnTo>
                    <a:pt x="16" y="480"/>
                  </a:lnTo>
                  <a:lnTo>
                    <a:pt x="26" y="575"/>
                  </a:lnTo>
                  <a:close/>
                </a:path>
              </a:pathLst>
            </a:custGeom>
            <a:solidFill>
              <a:srgbClr val="000000"/>
            </a:solidFill>
            <a:ln w="0">
              <a:solidFill>
                <a:srgbClr val="000000"/>
              </a:solidFill>
              <a:round/>
              <a:headEnd/>
              <a:tailEnd/>
            </a:ln>
          </p:spPr>
          <p:txBody>
            <a:bodyPr/>
            <a:lstStyle/>
            <a:p>
              <a:endParaRPr lang="en-US"/>
            </a:p>
          </p:txBody>
        </p:sp>
        <p:sp>
          <p:nvSpPr>
            <p:cNvPr id="42082" name="Rectangle 76"/>
            <p:cNvSpPr>
              <a:spLocks noChangeArrowheads="1"/>
            </p:cNvSpPr>
            <p:nvPr/>
          </p:nvSpPr>
          <p:spPr bwMode="auto">
            <a:xfrm>
              <a:off x="2638" y="1952"/>
              <a:ext cx="153" cy="108"/>
            </a:xfrm>
            <a:prstGeom prst="rect">
              <a:avLst/>
            </a:prstGeom>
            <a:noFill/>
            <a:ln w="9525">
              <a:noFill/>
              <a:miter lim="800000"/>
              <a:headEnd/>
              <a:tailEnd/>
            </a:ln>
          </p:spPr>
          <p:txBody>
            <a:bodyPr wrap="none" lIns="0" tIns="0" rIns="0" bIns="0">
              <a:spAutoFit/>
            </a:bodyPr>
            <a:lstStyle/>
            <a:p>
              <a:r>
                <a:rPr lang="en-US" sz="1000">
                  <a:solidFill>
                    <a:srgbClr val="000000"/>
                  </a:solidFill>
                </a:rPr>
                <a:t>CH</a:t>
              </a:r>
              <a:endParaRPr lang="en-US"/>
            </a:p>
          </p:txBody>
        </p:sp>
        <p:sp>
          <p:nvSpPr>
            <p:cNvPr id="42083" name="Freeform 78"/>
            <p:cNvSpPr>
              <a:spLocks noEditPoints="1"/>
            </p:cNvSpPr>
            <p:nvPr/>
          </p:nvSpPr>
          <p:spPr bwMode="auto">
            <a:xfrm>
              <a:off x="2960" y="1888"/>
              <a:ext cx="283" cy="270"/>
            </a:xfrm>
            <a:custGeom>
              <a:avLst/>
              <a:gdLst>
                <a:gd name="T0" fmla="*/ 0 w 1008"/>
                <a:gd name="T1" fmla="*/ 8 h 960"/>
                <a:gd name="T2" fmla="*/ 1 w 1008"/>
                <a:gd name="T3" fmla="*/ 6 h 960"/>
                <a:gd name="T4" fmla="*/ 3 w 1008"/>
                <a:gd name="T5" fmla="*/ 3 h 960"/>
                <a:gd name="T6" fmla="*/ 5 w 1008"/>
                <a:gd name="T7" fmla="*/ 2 h 960"/>
                <a:gd name="T8" fmla="*/ 9 w 1008"/>
                <a:gd name="T9" fmla="*/ 0 h 960"/>
                <a:gd name="T10" fmla="*/ 11 w 1008"/>
                <a:gd name="T11" fmla="*/ 0 h 960"/>
                <a:gd name="T12" fmla="*/ 15 w 1008"/>
                <a:gd name="T13" fmla="*/ 1 h 960"/>
                <a:gd name="T14" fmla="*/ 17 w 1008"/>
                <a:gd name="T15" fmla="*/ 2 h 960"/>
                <a:gd name="T16" fmla="*/ 20 w 1008"/>
                <a:gd name="T17" fmla="*/ 5 h 960"/>
                <a:gd name="T18" fmla="*/ 21 w 1008"/>
                <a:gd name="T19" fmla="*/ 6 h 960"/>
                <a:gd name="T20" fmla="*/ 22 w 1008"/>
                <a:gd name="T21" fmla="*/ 11 h 960"/>
                <a:gd name="T22" fmla="*/ 22 w 1008"/>
                <a:gd name="T23" fmla="*/ 13 h 960"/>
                <a:gd name="T24" fmla="*/ 20 w 1008"/>
                <a:gd name="T25" fmla="*/ 17 h 960"/>
                <a:gd name="T26" fmla="*/ 19 w 1008"/>
                <a:gd name="T27" fmla="*/ 18 h 960"/>
                <a:gd name="T28" fmla="*/ 15 w 1008"/>
                <a:gd name="T29" fmla="*/ 21 h 960"/>
                <a:gd name="T30" fmla="*/ 13 w 1008"/>
                <a:gd name="T31" fmla="*/ 21 h 960"/>
                <a:gd name="T32" fmla="*/ 9 w 1008"/>
                <a:gd name="T33" fmla="*/ 21 h 960"/>
                <a:gd name="T34" fmla="*/ 7 w 1008"/>
                <a:gd name="T35" fmla="*/ 21 h 960"/>
                <a:gd name="T36" fmla="*/ 3 w 1008"/>
                <a:gd name="T37" fmla="*/ 18 h 960"/>
                <a:gd name="T38" fmla="*/ 2 w 1008"/>
                <a:gd name="T39" fmla="*/ 17 h 960"/>
                <a:gd name="T40" fmla="*/ 0 w 1008"/>
                <a:gd name="T41" fmla="*/ 13 h 960"/>
                <a:gd name="T42" fmla="*/ 1 w 1008"/>
                <a:gd name="T43" fmla="*/ 13 h 960"/>
                <a:gd name="T44" fmla="*/ 1 w 1008"/>
                <a:gd name="T45" fmla="*/ 15 h 960"/>
                <a:gd name="T46" fmla="*/ 4 w 1008"/>
                <a:gd name="T47" fmla="*/ 18 h 960"/>
                <a:gd name="T48" fmla="*/ 5 w 1008"/>
                <a:gd name="T49" fmla="*/ 19 h 960"/>
                <a:gd name="T50" fmla="*/ 9 w 1008"/>
                <a:gd name="T51" fmla="*/ 21 h 960"/>
                <a:gd name="T52" fmla="*/ 11 w 1008"/>
                <a:gd name="T53" fmla="*/ 21 h 960"/>
                <a:gd name="T54" fmla="*/ 15 w 1008"/>
                <a:gd name="T55" fmla="*/ 20 h 960"/>
                <a:gd name="T56" fmla="*/ 17 w 1008"/>
                <a:gd name="T57" fmla="*/ 19 h 960"/>
                <a:gd name="T58" fmla="*/ 20 w 1008"/>
                <a:gd name="T59" fmla="*/ 17 h 960"/>
                <a:gd name="T60" fmla="*/ 21 w 1008"/>
                <a:gd name="T61" fmla="*/ 15 h 960"/>
                <a:gd name="T62" fmla="*/ 22 w 1008"/>
                <a:gd name="T63" fmla="*/ 11 h 960"/>
                <a:gd name="T64" fmla="*/ 22 w 1008"/>
                <a:gd name="T65" fmla="*/ 9 h 960"/>
                <a:gd name="T66" fmla="*/ 20 w 1008"/>
                <a:gd name="T67" fmla="*/ 5 h 960"/>
                <a:gd name="T68" fmla="*/ 19 w 1008"/>
                <a:gd name="T69" fmla="*/ 3 h 960"/>
                <a:gd name="T70" fmla="*/ 15 w 1008"/>
                <a:gd name="T71" fmla="*/ 1 h 960"/>
                <a:gd name="T72" fmla="*/ 13 w 1008"/>
                <a:gd name="T73" fmla="*/ 1 h 960"/>
                <a:gd name="T74" fmla="*/ 9 w 1008"/>
                <a:gd name="T75" fmla="*/ 1 h 960"/>
                <a:gd name="T76" fmla="*/ 7 w 1008"/>
                <a:gd name="T77" fmla="*/ 1 h 960"/>
                <a:gd name="T78" fmla="*/ 4 w 1008"/>
                <a:gd name="T79" fmla="*/ 3 h 960"/>
                <a:gd name="T80" fmla="*/ 2 w 1008"/>
                <a:gd name="T81" fmla="*/ 5 h 960"/>
                <a:gd name="T82" fmla="*/ 1 w 1008"/>
                <a:gd name="T83" fmla="*/ 9 h 960"/>
                <a:gd name="T84" fmla="*/ 0 w 1008"/>
                <a:gd name="T85" fmla="*/ 11 h 9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8"/>
                <a:gd name="T130" fmla="*/ 0 h 960"/>
                <a:gd name="T131" fmla="*/ 1008 w 1008"/>
                <a:gd name="T132" fmla="*/ 960 h 9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8" h="960">
                  <a:moveTo>
                    <a:pt x="1" y="481"/>
                  </a:moveTo>
                  <a:cubicBezTo>
                    <a:pt x="0" y="481"/>
                    <a:pt x="0" y="480"/>
                    <a:pt x="1" y="480"/>
                  </a:cubicBezTo>
                  <a:lnTo>
                    <a:pt x="11" y="385"/>
                  </a:lnTo>
                  <a:cubicBezTo>
                    <a:pt x="11" y="384"/>
                    <a:pt x="11" y="384"/>
                    <a:pt x="11" y="383"/>
                  </a:cubicBezTo>
                  <a:lnTo>
                    <a:pt x="40" y="295"/>
                  </a:lnTo>
                  <a:cubicBezTo>
                    <a:pt x="40" y="294"/>
                    <a:pt x="40" y="294"/>
                    <a:pt x="41" y="294"/>
                  </a:cubicBezTo>
                  <a:lnTo>
                    <a:pt x="87" y="213"/>
                  </a:lnTo>
                  <a:cubicBezTo>
                    <a:pt x="87" y="212"/>
                    <a:pt x="87" y="212"/>
                    <a:pt x="87" y="211"/>
                  </a:cubicBezTo>
                  <a:lnTo>
                    <a:pt x="148" y="142"/>
                  </a:lnTo>
                  <a:cubicBezTo>
                    <a:pt x="149" y="142"/>
                    <a:pt x="149" y="141"/>
                    <a:pt x="149" y="141"/>
                  </a:cubicBezTo>
                  <a:lnTo>
                    <a:pt x="222" y="83"/>
                  </a:lnTo>
                  <a:cubicBezTo>
                    <a:pt x="223" y="83"/>
                    <a:pt x="223" y="83"/>
                    <a:pt x="224" y="82"/>
                  </a:cubicBezTo>
                  <a:lnTo>
                    <a:pt x="308" y="38"/>
                  </a:lnTo>
                  <a:cubicBezTo>
                    <a:pt x="308" y="38"/>
                    <a:pt x="309" y="38"/>
                    <a:pt x="309" y="38"/>
                  </a:cubicBezTo>
                  <a:lnTo>
                    <a:pt x="402" y="11"/>
                  </a:lnTo>
                  <a:cubicBezTo>
                    <a:pt x="403" y="11"/>
                    <a:pt x="403" y="11"/>
                    <a:pt x="404" y="10"/>
                  </a:cubicBezTo>
                  <a:lnTo>
                    <a:pt x="504" y="0"/>
                  </a:lnTo>
                  <a:cubicBezTo>
                    <a:pt x="504" y="0"/>
                    <a:pt x="505" y="0"/>
                    <a:pt x="505" y="0"/>
                  </a:cubicBezTo>
                  <a:lnTo>
                    <a:pt x="605" y="10"/>
                  </a:lnTo>
                  <a:cubicBezTo>
                    <a:pt x="606" y="11"/>
                    <a:pt x="606" y="11"/>
                    <a:pt x="607" y="11"/>
                  </a:cubicBezTo>
                  <a:lnTo>
                    <a:pt x="700" y="38"/>
                  </a:lnTo>
                  <a:cubicBezTo>
                    <a:pt x="700" y="38"/>
                    <a:pt x="701" y="38"/>
                    <a:pt x="701" y="38"/>
                  </a:cubicBezTo>
                  <a:lnTo>
                    <a:pt x="785" y="82"/>
                  </a:lnTo>
                  <a:cubicBezTo>
                    <a:pt x="786" y="83"/>
                    <a:pt x="786" y="83"/>
                    <a:pt x="786" y="83"/>
                  </a:cubicBezTo>
                  <a:lnTo>
                    <a:pt x="860" y="141"/>
                  </a:lnTo>
                  <a:cubicBezTo>
                    <a:pt x="861" y="141"/>
                    <a:pt x="861" y="142"/>
                    <a:pt x="862" y="142"/>
                  </a:cubicBezTo>
                  <a:lnTo>
                    <a:pt x="922" y="211"/>
                  </a:lnTo>
                  <a:cubicBezTo>
                    <a:pt x="922" y="212"/>
                    <a:pt x="922" y="212"/>
                    <a:pt x="922" y="213"/>
                  </a:cubicBezTo>
                  <a:lnTo>
                    <a:pt x="968" y="294"/>
                  </a:lnTo>
                  <a:cubicBezTo>
                    <a:pt x="969" y="294"/>
                    <a:pt x="969" y="294"/>
                    <a:pt x="969" y="295"/>
                  </a:cubicBezTo>
                  <a:lnTo>
                    <a:pt x="998" y="383"/>
                  </a:lnTo>
                  <a:cubicBezTo>
                    <a:pt x="998" y="384"/>
                    <a:pt x="998" y="384"/>
                    <a:pt x="998" y="385"/>
                  </a:cubicBezTo>
                  <a:lnTo>
                    <a:pt x="1008" y="480"/>
                  </a:lnTo>
                  <a:cubicBezTo>
                    <a:pt x="1008" y="480"/>
                    <a:pt x="1008" y="481"/>
                    <a:pt x="1008" y="481"/>
                  </a:cubicBezTo>
                  <a:lnTo>
                    <a:pt x="998" y="576"/>
                  </a:lnTo>
                  <a:cubicBezTo>
                    <a:pt x="998" y="577"/>
                    <a:pt x="998" y="577"/>
                    <a:pt x="998" y="578"/>
                  </a:cubicBezTo>
                  <a:lnTo>
                    <a:pt x="969" y="667"/>
                  </a:lnTo>
                  <a:cubicBezTo>
                    <a:pt x="969" y="667"/>
                    <a:pt x="969" y="668"/>
                    <a:pt x="968" y="668"/>
                  </a:cubicBezTo>
                  <a:lnTo>
                    <a:pt x="922" y="748"/>
                  </a:lnTo>
                  <a:cubicBezTo>
                    <a:pt x="922" y="749"/>
                    <a:pt x="922" y="749"/>
                    <a:pt x="922" y="750"/>
                  </a:cubicBezTo>
                  <a:lnTo>
                    <a:pt x="862" y="820"/>
                  </a:lnTo>
                  <a:cubicBezTo>
                    <a:pt x="861" y="820"/>
                    <a:pt x="861" y="820"/>
                    <a:pt x="860" y="821"/>
                  </a:cubicBezTo>
                  <a:lnTo>
                    <a:pt x="786" y="878"/>
                  </a:lnTo>
                  <a:cubicBezTo>
                    <a:pt x="786" y="878"/>
                    <a:pt x="786" y="878"/>
                    <a:pt x="785" y="879"/>
                  </a:cubicBezTo>
                  <a:lnTo>
                    <a:pt x="701" y="923"/>
                  </a:lnTo>
                  <a:cubicBezTo>
                    <a:pt x="701" y="923"/>
                    <a:pt x="700" y="923"/>
                    <a:pt x="700" y="923"/>
                  </a:cubicBezTo>
                  <a:lnTo>
                    <a:pt x="607" y="950"/>
                  </a:lnTo>
                  <a:cubicBezTo>
                    <a:pt x="606" y="950"/>
                    <a:pt x="606" y="950"/>
                    <a:pt x="605" y="950"/>
                  </a:cubicBezTo>
                  <a:lnTo>
                    <a:pt x="505" y="960"/>
                  </a:lnTo>
                  <a:cubicBezTo>
                    <a:pt x="505" y="960"/>
                    <a:pt x="504" y="960"/>
                    <a:pt x="504" y="960"/>
                  </a:cubicBezTo>
                  <a:lnTo>
                    <a:pt x="404" y="950"/>
                  </a:lnTo>
                  <a:cubicBezTo>
                    <a:pt x="403" y="950"/>
                    <a:pt x="403" y="950"/>
                    <a:pt x="402" y="950"/>
                  </a:cubicBezTo>
                  <a:lnTo>
                    <a:pt x="309" y="923"/>
                  </a:lnTo>
                  <a:cubicBezTo>
                    <a:pt x="309" y="923"/>
                    <a:pt x="308" y="923"/>
                    <a:pt x="308" y="923"/>
                  </a:cubicBezTo>
                  <a:lnTo>
                    <a:pt x="224" y="879"/>
                  </a:lnTo>
                  <a:cubicBezTo>
                    <a:pt x="223" y="878"/>
                    <a:pt x="223" y="878"/>
                    <a:pt x="223" y="878"/>
                  </a:cubicBezTo>
                  <a:lnTo>
                    <a:pt x="150" y="821"/>
                  </a:lnTo>
                  <a:cubicBezTo>
                    <a:pt x="149" y="820"/>
                    <a:pt x="149" y="820"/>
                    <a:pt x="148" y="820"/>
                  </a:cubicBezTo>
                  <a:lnTo>
                    <a:pt x="87" y="750"/>
                  </a:lnTo>
                  <a:cubicBezTo>
                    <a:pt x="87" y="749"/>
                    <a:pt x="87" y="749"/>
                    <a:pt x="87" y="748"/>
                  </a:cubicBezTo>
                  <a:lnTo>
                    <a:pt x="41" y="668"/>
                  </a:lnTo>
                  <a:cubicBezTo>
                    <a:pt x="40" y="668"/>
                    <a:pt x="40" y="667"/>
                    <a:pt x="40" y="667"/>
                  </a:cubicBezTo>
                  <a:lnTo>
                    <a:pt x="11" y="578"/>
                  </a:lnTo>
                  <a:cubicBezTo>
                    <a:pt x="11" y="577"/>
                    <a:pt x="11" y="577"/>
                    <a:pt x="11" y="576"/>
                  </a:cubicBezTo>
                  <a:lnTo>
                    <a:pt x="1" y="481"/>
                  </a:lnTo>
                  <a:close/>
                  <a:moveTo>
                    <a:pt x="26" y="575"/>
                  </a:moveTo>
                  <a:lnTo>
                    <a:pt x="26" y="573"/>
                  </a:lnTo>
                  <a:lnTo>
                    <a:pt x="55" y="662"/>
                  </a:lnTo>
                  <a:lnTo>
                    <a:pt x="54" y="660"/>
                  </a:lnTo>
                  <a:lnTo>
                    <a:pt x="100" y="740"/>
                  </a:lnTo>
                  <a:lnTo>
                    <a:pt x="100" y="739"/>
                  </a:lnTo>
                  <a:lnTo>
                    <a:pt x="161" y="809"/>
                  </a:lnTo>
                  <a:lnTo>
                    <a:pt x="159" y="808"/>
                  </a:lnTo>
                  <a:lnTo>
                    <a:pt x="232" y="865"/>
                  </a:lnTo>
                  <a:lnTo>
                    <a:pt x="231" y="864"/>
                  </a:lnTo>
                  <a:lnTo>
                    <a:pt x="315" y="908"/>
                  </a:lnTo>
                  <a:lnTo>
                    <a:pt x="314" y="908"/>
                  </a:lnTo>
                  <a:lnTo>
                    <a:pt x="407" y="935"/>
                  </a:lnTo>
                  <a:lnTo>
                    <a:pt x="405" y="934"/>
                  </a:lnTo>
                  <a:lnTo>
                    <a:pt x="505" y="944"/>
                  </a:lnTo>
                  <a:lnTo>
                    <a:pt x="504" y="944"/>
                  </a:lnTo>
                  <a:lnTo>
                    <a:pt x="604" y="934"/>
                  </a:lnTo>
                  <a:lnTo>
                    <a:pt x="602" y="935"/>
                  </a:lnTo>
                  <a:lnTo>
                    <a:pt x="695" y="908"/>
                  </a:lnTo>
                  <a:lnTo>
                    <a:pt x="694" y="908"/>
                  </a:lnTo>
                  <a:lnTo>
                    <a:pt x="778" y="864"/>
                  </a:lnTo>
                  <a:lnTo>
                    <a:pt x="777" y="865"/>
                  </a:lnTo>
                  <a:lnTo>
                    <a:pt x="851" y="808"/>
                  </a:lnTo>
                  <a:lnTo>
                    <a:pt x="849" y="809"/>
                  </a:lnTo>
                  <a:lnTo>
                    <a:pt x="909" y="739"/>
                  </a:lnTo>
                  <a:lnTo>
                    <a:pt x="909" y="740"/>
                  </a:lnTo>
                  <a:lnTo>
                    <a:pt x="955" y="660"/>
                  </a:lnTo>
                  <a:lnTo>
                    <a:pt x="954" y="662"/>
                  </a:lnTo>
                  <a:lnTo>
                    <a:pt x="983" y="573"/>
                  </a:lnTo>
                  <a:lnTo>
                    <a:pt x="983" y="575"/>
                  </a:lnTo>
                  <a:lnTo>
                    <a:pt x="993" y="480"/>
                  </a:lnTo>
                  <a:lnTo>
                    <a:pt x="993" y="481"/>
                  </a:lnTo>
                  <a:lnTo>
                    <a:pt x="983" y="386"/>
                  </a:lnTo>
                  <a:lnTo>
                    <a:pt x="983" y="388"/>
                  </a:lnTo>
                  <a:lnTo>
                    <a:pt x="954" y="300"/>
                  </a:lnTo>
                  <a:lnTo>
                    <a:pt x="955" y="301"/>
                  </a:lnTo>
                  <a:lnTo>
                    <a:pt x="909" y="220"/>
                  </a:lnTo>
                  <a:lnTo>
                    <a:pt x="909" y="222"/>
                  </a:lnTo>
                  <a:lnTo>
                    <a:pt x="849" y="153"/>
                  </a:lnTo>
                  <a:lnTo>
                    <a:pt x="851" y="154"/>
                  </a:lnTo>
                  <a:lnTo>
                    <a:pt x="777" y="96"/>
                  </a:lnTo>
                  <a:lnTo>
                    <a:pt x="778" y="97"/>
                  </a:lnTo>
                  <a:lnTo>
                    <a:pt x="694" y="53"/>
                  </a:lnTo>
                  <a:lnTo>
                    <a:pt x="695" y="53"/>
                  </a:lnTo>
                  <a:lnTo>
                    <a:pt x="602" y="26"/>
                  </a:lnTo>
                  <a:lnTo>
                    <a:pt x="604" y="26"/>
                  </a:lnTo>
                  <a:lnTo>
                    <a:pt x="504" y="16"/>
                  </a:lnTo>
                  <a:lnTo>
                    <a:pt x="505" y="16"/>
                  </a:lnTo>
                  <a:lnTo>
                    <a:pt x="405" y="26"/>
                  </a:lnTo>
                  <a:lnTo>
                    <a:pt x="407" y="26"/>
                  </a:lnTo>
                  <a:lnTo>
                    <a:pt x="314" y="53"/>
                  </a:lnTo>
                  <a:lnTo>
                    <a:pt x="315" y="53"/>
                  </a:lnTo>
                  <a:lnTo>
                    <a:pt x="231" y="97"/>
                  </a:lnTo>
                  <a:lnTo>
                    <a:pt x="232" y="96"/>
                  </a:lnTo>
                  <a:lnTo>
                    <a:pt x="159" y="154"/>
                  </a:lnTo>
                  <a:lnTo>
                    <a:pt x="160" y="153"/>
                  </a:lnTo>
                  <a:lnTo>
                    <a:pt x="99" y="222"/>
                  </a:lnTo>
                  <a:lnTo>
                    <a:pt x="100" y="220"/>
                  </a:lnTo>
                  <a:lnTo>
                    <a:pt x="54" y="301"/>
                  </a:lnTo>
                  <a:lnTo>
                    <a:pt x="55" y="300"/>
                  </a:lnTo>
                  <a:lnTo>
                    <a:pt x="26" y="388"/>
                  </a:lnTo>
                  <a:lnTo>
                    <a:pt x="26" y="386"/>
                  </a:lnTo>
                  <a:lnTo>
                    <a:pt x="16" y="481"/>
                  </a:lnTo>
                  <a:lnTo>
                    <a:pt x="16" y="480"/>
                  </a:lnTo>
                  <a:lnTo>
                    <a:pt x="26" y="575"/>
                  </a:lnTo>
                  <a:close/>
                </a:path>
              </a:pathLst>
            </a:custGeom>
            <a:solidFill>
              <a:srgbClr val="000000"/>
            </a:solidFill>
            <a:ln w="0">
              <a:solidFill>
                <a:srgbClr val="000000"/>
              </a:solidFill>
              <a:round/>
              <a:headEnd/>
              <a:tailEnd/>
            </a:ln>
          </p:spPr>
          <p:txBody>
            <a:bodyPr/>
            <a:lstStyle/>
            <a:p>
              <a:endParaRPr lang="en-US"/>
            </a:p>
          </p:txBody>
        </p:sp>
        <p:sp>
          <p:nvSpPr>
            <p:cNvPr id="42084" name="Freeform 80"/>
            <p:cNvSpPr>
              <a:spLocks noEditPoints="1"/>
            </p:cNvSpPr>
            <p:nvPr/>
          </p:nvSpPr>
          <p:spPr bwMode="auto">
            <a:xfrm>
              <a:off x="2960" y="1888"/>
              <a:ext cx="283" cy="270"/>
            </a:xfrm>
            <a:custGeom>
              <a:avLst/>
              <a:gdLst>
                <a:gd name="T0" fmla="*/ 0 w 1008"/>
                <a:gd name="T1" fmla="*/ 8 h 960"/>
                <a:gd name="T2" fmla="*/ 1 w 1008"/>
                <a:gd name="T3" fmla="*/ 6 h 960"/>
                <a:gd name="T4" fmla="*/ 3 w 1008"/>
                <a:gd name="T5" fmla="*/ 3 h 960"/>
                <a:gd name="T6" fmla="*/ 5 w 1008"/>
                <a:gd name="T7" fmla="*/ 2 h 960"/>
                <a:gd name="T8" fmla="*/ 9 w 1008"/>
                <a:gd name="T9" fmla="*/ 0 h 960"/>
                <a:gd name="T10" fmla="*/ 11 w 1008"/>
                <a:gd name="T11" fmla="*/ 0 h 960"/>
                <a:gd name="T12" fmla="*/ 15 w 1008"/>
                <a:gd name="T13" fmla="*/ 1 h 960"/>
                <a:gd name="T14" fmla="*/ 17 w 1008"/>
                <a:gd name="T15" fmla="*/ 2 h 960"/>
                <a:gd name="T16" fmla="*/ 20 w 1008"/>
                <a:gd name="T17" fmla="*/ 5 h 960"/>
                <a:gd name="T18" fmla="*/ 21 w 1008"/>
                <a:gd name="T19" fmla="*/ 6 h 960"/>
                <a:gd name="T20" fmla="*/ 22 w 1008"/>
                <a:gd name="T21" fmla="*/ 11 h 960"/>
                <a:gd name="T22" fmla="*/ 22 w 1008"/>
                <a:gd name="T23" fmla="*/ 13 h 960"/>
                <a:gd name="T24" fmla="*/ 20 w 1008"/>
                <a:gd name="T25" fmla="*/ 17 h 960"/>
                <a:gd name="T26" fmla="*/ 19 w 1008"/>
                <a:gd name="T27" fmla="*/ 18 h 960"/>
                <a:gd name="T28" fmla="*/ 15 w 1008"/>
                <a:gd name="T29" fmla="*/ 21 h 960"/>
                <a:gd name="T30" fmla="*/ 13 w 1008"/>
                <a:gd name="T31" fmla="*/ 21 h 960"/>
                <a:gd name="T32" fmla="*/ 9 w 1008"/>
                <a:gd name="T33" fmla="*/ 21 h 960"/>
                <a:gd name="T34" fmla="*/ 7 w 1008"/>
                <a:gd name="T35" fmla="*/ 21 h 960"/>
                <a:gd name="T36" fmla="*/ 3 w 1008"/>
                <a:gd name="T37" fmla="*/ 18 h 960"/>
                <a:gd name="T38" fmla="*/ 2 w 1008"/>
                <a:gd name="T39" fmla="*/ 17 h 960"/>
                <a:gd name="T40" fmla="*/ 0 w 1008"/>
                <a:gd name="T41" fmla="*/ 13 h 960"/>
                <a:gd name="T42" fmla="*/ 1 w 1008"/>
                <a:gd name="T43" fmla="*/ 13 h 960"/>
                <a:gd name="T44" fmla="*/ 1 w 1008"/>
                <a:gd name="T45" fmla="*/ 15 h 960"/>
                <a:gd name="T46" fmla="*/ 4 w 1008"/>
                <a:gd name="T47" fmla="*/ 18 h 960"/>
                <a:gd name="T48" fmla="*/ 5 w 1008"/>
                <a:gd name="T49" fmla="*/ 19 h 960"/>
                <a:gd name="T50" fmla="*/ 9 w 1008"/>
                <a:gd name="T51" fmla="*/ 21 h 960"/>
                <a:gd name="T52" fmla="*/ 11 w 1008"/>
                <a:gd name="T53" fmla="*/ 21 h 960"/>
                <a:gd name="T54" fmla="*/ 15 w 1008"/>
                <a:gd name="T55" fmla="*/ 20 h 960"/>
                <a:gd name="T56" fmla="*/ 17 w 1008"/>
                <a:gd name="T57" fmla="*/ 19 h 960"/>
                <a:gd name="T58" fmla="*/ 20 w 1008"/>
                <a:gd name="T59" fmla="*/ 17 h 960"/>
                <a:gd name="T60" fmla="*/ 21 w 1008"/>
                <a:gd name="T61" fmla="*/ 15 h 960"/>
                <a:gd name="T62" fmla="*/ 22 w 1008"/>
                <a:gd name="T63" fmla="*/ 11 h 960"/>
                <a:gd name="T64" fmla="*/ 22 w 1008"/>
                <a:gd name="T65" fmla="*/ 9 h 960"/>
                <a:gd name="T66" fmla="*/ 20 w 1008"/>
                <a:gd name="T67" fmla="*/ 5 h 960"/>
                <a:gd name="T68" fmla="*/ 19 w 1008"/>
                <a:gd name="T69" fmla="*/ 3 h 960"/>
                <a:gd name="T70" fmla="*/ 15 w 1008"/>
                <a:gd name="T71" fmla="*/ 1 h 960"/>
                <a:gd name="T72" fmla="*/ 13 w 1008"/>
                <a:gd name="T73" fmla="*/ 1 h 960"/>
                <a:gd name="T74" fmla="*/ 9 w 1008"/>
                <a:gd name="T75" fmla="*/ 1 h 960"/>
                <a:gd name="T76" fmla="*/ 7 w 1008"/>
                <a:gd name="T77" fmla="*/ 1 h 960"/>
                <a:gd name="T78" fmla="*/ 4 w 1008"/>
                <a:gd name="T79" fmla="*/ 3 h 960"/>
                <a:gd name="T80" fmla="*/ 2 w 1008"/>
                <a:gd name="T81" fmla="*/ 5 h 960"/>
                <a:gd name="T82" fmla="*/ 1 w 1008"/>
                <a:gd name="T83" fmla="*/ 9 h 960"/>
                <a:gd name="T84" fmla="*/ 0 w 1008"/>
                <a:gd name="T85" fmla="*/ 11 h 9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8"/>
                <a:gd name="T130" fmla="*/ 0 h 960"/>
                <a:gd name="T131" fmla="*/ 1008 w 1008"/>
                <a:gd name="T132" fmla="*/ 960 h 9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8" h="960">
                  <a:moveTo>
                    <a:pt x="1" y="481"/>
                  </a:moveTo>
                  <a:cubicBezTo>
                    <a:pt x="0" y="481"/>
                    <a:pt x="0" y="480"/>
                    <a:pt x="1" y="480"/>
                  </a:cubicBezTo>
                  <a:lnTo>
                    <a:pt x="11" y="385"/>
                  </a:lnTo>
                  <a:cubicBezTo>
                    <a:pt x="11" y="384"/>
                    <a:pt x="11" y="384"/>
                    <a:pt x="11" y="383"/>
                  </a:cubicBezTo>
                  <a:lnTo>
                    <a:pt x="40" y="295"/>
                  </a:lnTo>
                  <a:cubicBezTo>
                    <a:pt x="40" y="294"/>
                    <a:pt x="40" y="294"/>
                    <a:pt x="41" y="294"/>
                  </a:cubicBezTo>
                  <a:lnTo>
                    <a:pt x="87" y="213"/>
                  </a:lnTo>
                  <a:cubicBezTo>
                    <a:pt x="87" y="212"/>
                    <a:pt x="87" y="212"/>
                    <a:pt x="87" y="211"/>
                  </a:cubicBezTo>
                  <a:lnTo>
                    <a:pt x="148" y="142"/>
                  </a:lnTo>
                  <a:cubicBezTo>
                    <a:pt x="149" y="142"/>
                    <a:pt x="149" y="141"/>
                    <a:pt x="149" y="141"/>
                  </a:cubicBezTo>
                  <a:lnTo>
                    <a:pt x="222" y="83"/>
                  </a:lnTo>
                  <a:cubicBezTo>
                    <a:pt x="223" y="83"/>
                    <a:pt x="223" y="83"/>
                    <a:pt x="224" y="82"/>
                  </a:cubicBezTo>
                  <a:lnTo>
                    <a:pt x="308" y="38"/>
                  </a:lnTo>
                  <a:cubicBezTo>
                    <a:pt x="308" y="38"/>
                    <a:pt x="309" y="38"/>
                    <a:pt x="309" y="38"/>
                  </a:cubicBezTo>
                  <a:lnTo>
                    <a:pt x="402" y="11"/>
                  </a:lnTo>
                  <a:cubicBezTo>
                    <a:pt x="403" y="11"/>
                    <a:pt x="403" y="11"/>
                    <a:pt x="404" y="10"/>
                  </a:cubicBezTo>
                  <a:lnTo>
                    <a:pt x="504" y="0"/>
                  </a:lnTo>
                  <a:cubicBezTo>
                    <a:pt x="504" y="0"/>
                    <a:pt x="505" y="0"/>
                    <a:pt x="505" y="0"/>
                  </a:cubicBezTo>
                  <a:lnTo>
                    <a:pt x="605" y="10"/>
                  </a:lnTo>
                  <a:cubicBezTo>
                    <a:pt x="606" y="11"/>
                    <a:pt x="606" y="11"/>
                    <a:pt x="607" y="11"/>
                  </a:cubicBezTo>
                  <a:lnTo>
                    <a:pt x="700" y="38"/>
                  </a:lnTo>
                  <a:cubicBezTo>
                    <a:pt x="700" y="38"/>
                    <a:pt x="701" y="38"/>
                    <a:pt x="701" y="38"/>
                  </a:cubicBezTo>
                  <a:lnTo>
                    <a:pt x="785" y="82"/>
                  </a:lnTo>
                  <a:cubicBezTo>
                    <a:pt x="786" y="83"/>
                    <a:pt x="786" y="83"/>
                    <a:pt x="786" y="83"/>
                  </a:cubicBezTo>
                  <a:lnTo>
                    <a:pt x="860" y="141"/>
                  </a:lnTo>
                  <a:cubicBezTo>
                    <a:pt x="861" y="141"/>
                    <a:pt x="861" y="142"/>
                    <a:pt x="862" y="142"/>
                  </a:cubicBezTo>
                  <a:lnTo>
                    <a:pt x="922" y="211"/>
                  </a:lnTo>
                  <a:cubicBezTo>
                    <a:pt x="922" y="212"/>
                    <a:pt x="922" y="212"/>
                    <a:pt x="922" y="213"/>
                  </a:cubicBezTo>
                  <a:lnTo>
                    <a:pt x="968" y="294"/>
                  </a:lnTo>
                  <a:cubicBezTo>
                    <a:pt x="969" y="294"/>
                    <a:pt x="969" y="294"/>
                    <a:pt x="969" y="295"/>
                  </a:cubicBezTo>
                  <a:lnTo>
                    <a:pt x="998" y="383"/>
                  </a:lnTo>
                  <a:cubicBezTo>
                    <a:pt x="998" y="384"/>
                    <a:pt x="998" y="384"/>
                    <a:pt x="998" y="385"/>
                  </a:cubicBezTo>
                  <a:lnTo>
                    <a:pt x="1008" y="480"/>
                  </a:lnTo>
                  <a:cubicBezTo>
                    <a:pt x="1008" y="480"/>
                    <a:pt x="1008" y="481"/>
                    <a:pt x="1008" y="481"/>
                  </a:cubicBezTo>
                  <a:lnTo>
                    <a:pt x="998" y="576"/>
                  </a:lnTo>
                  <a:cubicBezTo>
                    <a:pt x="998" y="577"/>
                    <a:pt x="998" y="577"/>
                    <a:pt x="998" y="578"/>
                  </a:cubicBezTo>
                  <a:lnTo>
                    <a:pt x="969" y="667"/>
                  </a:lnTo>
                  <a:cubicBezTo>
                    <a:pt x="969" y="667"/>
                    <a:pt x="969" y="668"/>
                    <a:pt x="968" y="668"/>
                  </a:cubicBezTo>
                  <a:lnTo>
                    <a:pt x="922" y="748"/>
                  </a:lnTo>
                  <a:cubicBezTo>
                    <a:pt x="922" y="749"/>
                    <a:pt x="922" y="749"/>
                    <a:pt x="922" y="750"/>
                  </a:cubicBezTo>
                  <a:lnTo>
                    <a:pt x="862" y="820"/>
                  </a:lnTo>
                  <a:cubicBezTo>
                    <a:pt x="861" y="820"/>
                    <a:pt x="861" y="820"/>
                    <a:pt x="860" y="821"/>
                  </a:cubicBezTo>
                  <a:lnTo>
                    <a:pt x="786" y="878"/>
                  </a:lnTo>
                  <a:cubicBezTo>
                    <a:pt x="786" y="878"/>
                    <a:pt x="786" y="878"/>
                    <a:pt x="785" y="879"/>
                  </a:cubicBezTo>
                  <a:lnTo>
                    <a:pt x="701" y="923"/>
                  </a:lnTo>
                  <a:cubicBezTo>
                    <a:pt x="701" y="923"/>
                    <a:pt x="700" y="923"/>
                    <a:pt x="700" y="923"/>
                  </a:cubicBezTo>
                  <a:lnTo>
                    <a:pt x="607" y="950"/>
                  </a:lnTo>
                  <a:cubicBezTo>
                    <a:pt x="606" y="950"/>
                    <a:pt x="606" y="950"/>
                    <a:pt x="605" y="950"/>
                  </a:cubicBezTo>
                  <a:lnTo>
                    <a:pt x="505" y="960"/>
                  </a:lnTo>
                  <a:cubicBezTo>
                    <a:pt x="505" y="960"/>
                    <a:pt x="504" y="960"/>
                    <a:pt x="504" y="960"/>
                  </a:cubicBezTo>
                  <a:lnTo>
                    <a:pt x="404" y="950"/>
                  </a:lnTo>
                  <a:cubicBezTo>
                    <a:pt x="403" y="950"/>
                    <a:pt x="403" y="950"/>
                    <a:pt x="402" y="950"/>
                  </a:cubicBezTo>
                  <a:lnTo>
                    <a:pt x="309" y="923"/>
                  </a:lnTo>
                  <a:cubicBezTo>
                    <a:pt x="309" y="923"/>
                    <a:pt x="308" y="923"/>
                    <a:pt x="308" y="923"/>
                  </a:cubicBezTo>
                  <a:lnTo>
                    <a:pt x="224" y="879"/>
                  </a:lnTo>
                  <a:cubicBezTo>
                    <a:pt x="223" y="878"/>
                    <a:pt x="223" y="878"/>
                    <a:pt x="223" y="878"/>
                  </a:cubicBezTo>
                  <a:lnTo>
                    <a:pt x="150" y="821"/>
                  </a:lnTo>
                  <a:cubicBezTo>
                    <a:pt x="149" y="820"/>
                    <a:pt x="149" y="820"/>
                    <a:pt x="148" y="820"/>
                  </a:cubicBezTo>
                  <a:lnTo>
                    <a:pt x="87" y="750"/>
                  </a:lnTo>
                  <a:cubicBezTo>
                    <a:pt x="87" y="749"/>
                    <a:pt x="87" y="749"/>
                    <a:pt x="87" y="748"/>
                  </a:cubicBezTo>
                  <a:lnTo>
                    <a:pt x="41" y="668"/>
                  </a:lnTo>
                  <a:cubicBezTo>
                    <a:pt x="40" y="668"/>
                    <a:pt x="40" y="667"/>
                    <a:pt x="40" y="667"/>
                  </a:cubicBezTo>
                  <a:lnTo>
                    <a:pt x="11" y="578"/>
                  </a:lnTo>
                  <a:cubicBezTo>
                    <a:pt x="11" y="577"/>
                    <a:pt x="11" y="577"/>
                    <a:pt x="11" y="576"/>
                  </a:cubicBezTo>
                  <a:lnTo>
                    <a:pt x="1" y="481"/>
                  </a:lnTo>
                  <a:close/>
                  <a:moveTo>
                    <a:pt x="26" y="575"/>
                  </a:moveTo>
                  <a:lnTo>
                    <a:pt x="26" y="573"/>
                  </a:lnTo>
                  <a:lnTo>
                    <a:pt x="55" y="662"/>
                  </a:lnTo>
                  <a:lnTo>
                    <a:pt x="54" y="660"/>
                  </a:lnTo>
                  <a:lnTo>
                    <a:pt x="100" y="740"/>
                  </a:lnTo>
                  <a:lnTo>
                    <a:pt x="100" y="739"/>
                  </a:lnTo>
                  <a:lnTo>
                    <a:pt x="161" y="809"/>
                  </a:lnTo>
                  <a:lnTo>
                    <a:pt x="159" y="808"/>
                  </a:lnTo>
                  <a:lnTo>
                    <a:pt x="232" y="865"/>
                  </a:lnTo>
                  <a:lnTo>
                    <a:pt x="231" y="864"/>
                  </a:lnTo>
                  <a:lnTo>
                    <a:pt x="315" y="908"/>
                  </a:lnTo>
                  <a:lnTo>
                    <a:pt x="314" y="908"/>
                  </a:lnTo>
                  <a:lnTo>
                    <a:pt x="407" y="935"/>
                  </a:lnTo>
                  <a:lnTo>
                    <a:pt x="405" y="934"/>
                  </a:lnTo>
                  <a:lnTo>
                    <a:pt x="505" y="944"/>
                  </a:lnTo>
                  <a:lnTo>
                    <a:pt x="504" y="944"/>
                  </a:lnTo>
                  <a:lnTo>
                    <a:pt x="604" y="934"/>
                  </a:lnTo>
                  <a:lnTo>
                    <a:pt x="602" y="935"/>
                  </a:lnTo>
                  <a:lnTo>
                    <a:pt x="695" y="908"/>
                  </a:lnTo>
                  <a:lnTo>
                    <a:pt x="694" y="908"/>
                  </a:lnTo>
                  <a:lnTo>
                    <a:pt x="778" y="864"/>
                  </a:lnTo>
                  <a:lnTo>
                    <a:pt x="777" y="865"/>
                  </a:lnTo>
                  <a:lnTo>
                    <a:pt x="851" y="808"/>
                  </a:lnTo>
                  <a:lnTo>
                    <a:pt x="849" y="809"/>
                  </a:lnTo>
                  <a:lnTo>
                    <a:pt x="909" y="739"/>
                  </a:lnTo>
                  <a:lnTo>
                    <a:pt x="909" y="740"/>
                  </a:lnTo>
                  <a:lnTo>
                    <a:pt x="955" y="660"/>
                  </a:lnTo>
                  <a:lnTo>
                    <a:pt x="954" y="662"/>
                  </a:lnTo>
                  <a:lnTo>
                    <a:pt x="983" y="573"/>
                  </a:lnTo>
                  <a:lnTo>
                    <a:pt x="983" y="575"/>
                  </a:lnTo>
                  <a:lnTo>
                    <a:pt x="993" y="480"/>
                  </a:lnTo>
                  <a:lnTo>
                    <a:pt x="993" y="481"/>
                  </a:lnTo>
                  <a:lnTo>
                    <a:pt x="983" y="386"/>
                  </a:lnTo>
                  <a:lnTo>
                    <a:pt x="983" y="388"/>
                  </a:lnTo>
                  <a:lnTo>
                    <a:pt x="954" y="300"/>
                  </a:lnTo>
                  <a:lnTo>
                    <a:pt x="955" y="301"/>
                  </a:lnTo>
                  <a:lnTo>
                    <a:pt x="909" y="220"/>
                  </a:lnTo>
                  <a:lnTo>
                    <a:pt x="909" y="222"/>
                  </a:lnTo>
                  <a:lnTo>
                    <a:pt x="849" y="153"/>
                  </a:lnTo>
                  <a:lnTo>
                    <a:pt x="851" y="154"/>
                  </a:lnTo>
                  <a:lnTo>
                    <a:pt x="777" y="96"/>
                  </a:lnTo>
                  <a:lnTo>
                    <a:pt x="778" y="97"/>
                  </a:lnTo>
                  <a:lnTo>
                    <a:pt x="694" y="53"/>
                  </a:lnTo>
                  <a:lnTo>
                    <a:pt x="695" y="53"/>
                  </a:lnTo>
                  <a:lnTo>
                    <a:pt x="602" y="26"/>
                  </a:lnTo>
                  <a:lnTo>
                    <a:pt x="604" y="26"/>
                  </a:lnTo>
                  <a:lnTo>
                    <a:pt x="504" y="16"/>
                  </a:lnTo>
                  <a:lnTo>
                    <a:pt x="505" y="16"/>
                  </a:lnTo>
                  <a:lnTo>
                    <a:pt x="405" y="26"/>
                  </a:lnTo>
                  <a:lnTo>
                    <a:pt x="407" y="26"/>
                  </a:lnTo>
                  <a:lnTo>
                    <a:pt x="314" y="53"/>
                  </a:lnTo>
                  <a:lnTo>
                    <a:pt x="315" y="53"/>
                  </a:lnTo>
                  <a:lnTo>
                    <a:pt x="231" y="97"/>
                  </a:lnTo>
                  <a:lnTo>
                    <a:pt x="232" y="96"/>
                  </a:lnTo>
                  <a:lnTo>
                    <a:pt x="159" y="154"/>
                  </a:lnTo>
                  <a:lnTo>
                    <a:pt x="160" y="153"/>
                  </a:lnTo>
                  <a:lnTo>
                    <a:pt x="99" y="222"/>
                  </a:lnTo>
                  <a:lnTo>
                    <a:pt x="100" y="220"/>
                  </a:lnTo>
                  <a:lnTo>
                    <a:pt x="54" y="301"/>
                  </a:lnTo>
                  <a:lnTo>
                    <a:pt x="55" y="300"/>
                  </a:lnTo>
                  <a:lnTo>
                    <a:pt x="26" y="388"/>
                  </a:lnTo>
                  <a:lnTo>
                    <a:pt x="26" y="386"/>
                  </a:lnTo>
                  <a:lnTo>
                    <a:pt x="16" y="481"/>
                  </a:lnTo>
                  <a:lnTo>
                    <a:pt x="16" y="480"/>
                  </a:lnTo>
                  <a:lnTo>
                    <a:pt x="26" y="575"/>
                  </a:lnTo>
                  <a:close/>
                </a:path>
              </a:pathLst>
            </a:custGeom>
            <a:solidFill>
              <a:srgbClr val="000000"/>
            </a:solidFill>
            <a:ln w="0">
              <a:solidFill>
                <a:srgbClr val="000000"/>
              </a:solidFill>
              <a:round/>
              <a:headEnd/>
              <a:tailEnd/>
            </a:ln>
          </p:spPr>
          <p:txBody>
            <a:bodyPr/>
            <a:lstStyle/>
            <a:p>
              <a:endParaRPr lang="en-US"/>
            </a:p>
          </p:txBody>
        </p:sp>
        <p:sp>
          <p:nvSpPr>
            <p:cNvPr id="42085" name="Rectangle 81"/>
            <p:cNvSpPr>
              <a:spLocks noChangeArrowheads="1"/>
            </p:cNvSpPr>
            <p:nvPr/>
          </p:nvSpPr>
          <p:spPr bwMode="auto">
            <a:xfrm>
              <a:off x="3074" y="1984"/>
              <a:ext cx="90" cy="108"/>
            </a:xfrm>
            <a:prstGeom prst="rect">
              <a:avLst/>
            </a:prstGeom>
            <a:noFill/>
            <a:ln w="9525">
              <a:noFill/>
              <a:miter lim="800000"/>
              <a:headEnd/>
              <a:tailEnd/>
            </a:ln>
          </p:spPr>
          <p:txBody>
            <a:bodyPr wrap="none" lIns="0" tIns="0" rIns="0" bIns="0">
              <a:spAutoFit/>
            </a:bodyPr>
            <a:lstStyle/>
            <a:p>
              <a:r>
                <a:rPr lang="en-US" sz="1000">
                  <a:solidFill>
                    <a:srgbClr val="000000"/>
                  </a:solidFill>
                </a:rPr>
                <a:t>A</a:t>
              </a:r>
              <a:endParaRPr lang="en-US"/>
            </a:p>
          </p:txBody>
        </p:sp>
        <p:sp>
          <p:nvSpPr>
            <p:cNvPr id="42086" name="Freeform 82"/>
            <p:cNvSpPr>
              <a:spLocks/>
            </p:cNvSpPr>
            <p:nvPr/>
          </p:nvSpPr>
          <p:spPr bwMode="auto">
            <a:xfrm>
              <a:off x="2651" y="1328"/>
              <a:ext cx="464" cy="463"/>
            </a:xfrm>
            <a:custGeom>
              <a:avLst/>
              <a:gdLst>
                <a:gd name="T0" fmla="*/ 0 w 1648"/>
                <a:gd name="T1" fmla="*/ 18 h 1648"/>
                <a:gd name="T2" fmla="*/ 18 w 1648"/>
                <a:gd name="T3" fmla="*/ 0 h 1648"/>
                <a:gd name="T4" fmla="*/ 18 w 1648"/>
                <a:gd name="T5" fmla="*/ 0 h 1648"/>
                <a:gd name="T6" fmla="*/ 18 w 1648"/>
                <a:gd name="T7" fmla="*/ 0 h 1648"/>
                <a:gd name="T8" fmla="*/ 37 w 1648"/>
                <a:gd name="T9" fmla="*/ 18 h 1648"/>
                <a:gd name="T10" fmla="*/ 37 w 1648"/>
                <a:gd name="T11" fmla="*/ 18 h 1648"/>
                <a:gd name="T12" fmla="*/ 37 w 1648"/>
                <a:gd name="T13" fmla="*/ 18 h 1648"/>
                <a:gd name="T14" fmla="*/ 18 w 1648"/>
                <a:gd name="T15" fmla="*/ 37 h 1648"/>
                <a:gd name="T16" fmla="*/ 18 w 1648"/>
                <a:gd name="T17" fmla="*/ 37 h 1648"/>
                <a:gd name="T18" fmla="*/ 18 w 1648"/>
                <a:gd name="T19" fmla="*/ 37 h 1648"/>
                <a:gd name="T20" fmla="*/ 0 w 1648"/>
                <a:gd name="T21" fmla="*/ 18 h 1648"/>
                <a:gd name="T22" fmla="*/ 0 w 1648"/>
                <a:gd name="T23" fmla="*/ 18 h 16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48"/>
                <a:gd name="T37" fmla="*/ 0 h 1648"/>
                <a:gd name="T38" fmla="*/ 1648 w 1648"/>
                <a:gd name="T39" fmla="*/ 1648 h 16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48" h="1648">
                  <a:moveTo>
                    <a:pt x="0" y="824"/>
                  </a:moveTo>
                  <a:cubicBezTo>
                    <a:pt x="0" y="369"/>
                    <a:pt x="369" y="0"/>
                    <a:pt x="824" y="0"/>
                  </a:cubicBezTo>
                  <a:cubicBezTo>
                    <a:pt x="824" y="0"/>
                    <a:pt x="824" y="0"/>
                    <a:pt x="824" y="0"/>
                  </a:cubicBezTo>
                  <a:cubicBezTo>
                    <a:pt x="1280" y="0"/>
                    <a:pt x="1648" y="369"/>
                    <a:pt x="1648" y="824"/>
                  </a:cubicBezTo>
                  <a:cubicBezTo>
                    <a:pt x="1648" y="824"/>
                    <a:pt x="1648" y="824"/>
                    <a:pt x="1648" y="824"/>
                  </a:cubicBezTo>
                  <a:cubicBezTo>
                    <a:pt x="1648" y="1280"/>
                    <a:pt x="1280" y="1648"/>
                    <a:pt x="824" y="1648"/>
                  </a:cubicBezTo>
                  <a:cubicBezTo>
                    <a:pt x="824" y="1648"/>
                    <a:pt x="824" y="1648"/>
                    <a:pt x="824" y="1648"/>
                  </a:cubicBezTo>
                  <a:cubicBezTo>
                    <a:pt x="369" y="1648"/>
                    <a:pt x="0" y="1280"/>
                    <a:pt x="0" y="824"/>
                  </a:cubicBezTo>
                  <a:cubicBezTo>
                    <a:pt x="0" y="824"/>
                    <a:pt x="0" y="824"/>
                    <a:pt x="0" y="824"/>
                  </a:cubicBezTo>
                  <a:close/>
                </a:path>
              </a:pathLst>
            </a:custGeom>
            <a:solidFill>
              <a:srgbClr val="FFCC99"/>
            </a:solidFill>
            <a:ln w="0">
              <a:solidFill>
                <a:srgbClr val="000000"/>
              </a:solidFill>
              <a:round/>
              <a:headEnd/>
              <a:tailEnd/>
            </a:ln>
          </p:spPr>
          <p:txBody>
            <a:bodyPr/>
            <a:lstStyle/>
            <a:p>
              <a:endParaRPr lang="en-US"/>
            </a:p>
          </p:txBody>
        </p:sp>
        <p:sp>
          <p:nvSpPr>
            <p:cNvPr id="42087" name="Freeform 83"/>
            <p:cNvSpPr>
              <a:spLocks noEditPoints="1"/>
            </p:cNvSpPr>
            <p:nvPr/>
          </p:nvSpPr>
          <p:spPr bwMode="auto">
            <a:xfrm>
              <a:off x="2649" y="1325"/>
              <a:ext cx="468" cy="469"/>
            </a:xfrm>
            <a:custGeom>
              <a:avLst/>
              <a:gdLst>
                <a:gd name="T0" fmla="*/ 5 w 468"/>
                <a:gd name="T1" fmla="*/ 188 h 469"/>
                <a:gd name="T2" fmla="*/ 28 w 468"/>
                <a:gd name="T3" fmla="*/ 123 h 469"/>
                <a:gd name="T4" fmla="*/ 69 w 468"/>
                <a:gd name="T5" fmla="*/ 69 h 469"/>
                <a:gd name="T6" fmla="*/ 122 w 468"/>
                <a:gd name="T7" fmla="*/ 29 h 469"/>
                <a:gd name="T8" fmla="*/ 187 w 468"/>
                <a:gd name="T9" fmla="*/ 6 h 469"/>
                <a:gd name="T10" fmla="*/ 258 w 468"/>
                <a:gd name="T11" fmla="*/ 2 h 469"/>
                <a:gd name="T12" fmla="*/ 325 w 468"/>
                <a:gd name="T13" fmla="*/ 19 h 469"/>
                <a:gd name="T14" fmla="*/ 383 w 468"/>
                <a:gd name="T15" fmla="*/ 54 h 469"/>
                <a:gd name="T16" fmla="*/ 428 w 468"/>
                <a:gd name="T17" fmla="*/ 104 h 469"/>
                <a:gd name="T18" fmla="*/ 458 w 468"/>
                <a:gd name="T19" fmla="*/ 165 h 469"/>
                <a:gd name="T20" fmla="*/ 468 w 468"/>
                <a:gd name="T21" fmla="*/ 235 h 469"/>
                <a:gd name="T22" fmla="*/ 458 w 468"/>
                <a:gd name="T23" fmla="*/ 304 h 469"/>
                <a:gd name="T24" fmla="*/ 428 w 468"/>
                <a:gd name="T25" fmla="*/ 366 h 469"/>
                <a:gd name="T26" fmla="*/ 383 w 468"/>
                <a:gd name="T27" fmla="*/ 415 h 469"/>
                <a:gd name="T28" fmla="*/ 326 w 468"/>
                <a:gd name="T29" fmla="*/ 450 h 469"/>
                <a:gd name="T30" fmla="*/ 258 w 468"/>
                <a:gd name="T31" fmla="*/ 467 h 469"/>
                <a:gd name="T32" fmla="*/ 187 w 468"/>
                <a:gd name="T33" fmla="*/ 464 h 469"/>
                <a:gd name="T34" fmla="*/ 123 w 468"/>
                <a:gd name="T35" fmla="*/ 441 h 469"/>
                <a:gd name="T36" fmla="*/ 69 w 468"/>
                <a:gd name="T37" fmla="*/ 400 h 469"/>
                <a:gd name="T38" fmla="*/ 28 w 468"/>
                <a:gd name="T39" fmla="*/ 347 h 469"/>
                <a:gd name="T40" fmla="*/ 5 w 468"/>
                <a:gd name="T41" fmla="*/ 282 h 469"/>
                <a:gd name="T42" fmla="*/ 6 w 468"/>
                <a:gd name="T43" fmla="*/ 258 h 469"/>
                <a:gd name="T44" fmla="*/ 23 w 468"/>
                <a:gd name="T45" fmla="*/ 324 h 469"/>
                <a:gd name="T46" fmla="*/ 57 w 468"/>
                <a:gd name="T47" fmla="*/ 381 h 469"/>
                <a:gd name="T48" fmla="*/ 106 w 468"/>
                <a:gd name="T49" fmla="*/ 425 h 469"/>
                <a:gd name="T50" fmla="*/ 166 w 468"/>
                <a:gd name="T51" fmla="*/ 454 h 469"/>
                <a:gd name="T52" fmla="*/ 234 w 468"/>
                <a:gd name="T53" fmla="*/ 464 h 469"/>
                <a:gd name="T54" fmla="*/ 302 w 468"/>
                <a:gd name="T55" fmla="*/ 454 h 469"/>
                <a:gd name="T56" fmla="*/ 363 w 468"/>
                <a:gd name="T57" fmla="*/ 425 h 469"/>
                <a:gd name="T58" fmla="*/ 411 w 468"/>
                <a:gd name="T59" fmla="*/ 381 h 469"/>
                <a:gd name="T60" fmla="*/ 446 w 468"/>
                <a:gd name="T61" fmla="*/ 324 h 469"/>
                <a:gd name="T62" fmla="*/ 463 w 468"/>
                <a:gd name="T63" fmla="*/ 258 h 469"/>
                <a:gd name="T64" fmla="*/ 459 w 468"/>
                <a:gd name="T65" fmla="*/ 188 h 469"/>
                <a:gd name="T66" fmla="*/ 436 w 468"/>
                <a:gd name="T67" fmla="*/ 125 h 469"/>
                <a:gd name="T68" fmla="*/ 397 w 468"/>
                <a:gd name="T69" fmla="*/ 72 h 469"/>
                <a:gd name="T70" fmla="*/ 344 w 468"/>
                <a:gd name="T71" fmla="*/ 33 h 469"/>
                <a:gd name="T72" fmla="*/ 280 w 468"/>
                <a:gd name="T73" fmla="*/ 10 h 469"/>
                <a:gd name="T74" fmla="*/ 211 w 468"/>
                <a:gd name="T75" fmla="*/ 6 h 469"/>
                <a:gd name="T76" fmla="*/ 145 w 468"/>
                <a:gd name="T77" fmla="*/ 23 h 469"/>
                <a:gd name="T78" fmla="*/ 88 w 468"/>
                <a:gd name="T79" fmla="*/ 57 h 469"/>
                <a:gd name="T80" fmla="*/ 44 w 468"/>
                <a:gd name="T81" fmla="*/ 106 h 469"/>
                <a:gd name="T82" fmla="*/ 15 w 468"/>
                <a:gd name="T83" fmla="*/ 166 h 469"/>
                <a:gd name="T84" fmla="*/ 4 w 468"/>
                <a:gd name="T85" fmla="*/ 235 h 46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68"/>
                <a:gd name="T130" fmla="*/ 0 h 469"/>
                <a:gd name="T131" fmla="*/ 468 w 468"/>
                <a:gd name="T132" fmla="*/ 469 h 46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68" h="469">
                  <a:moveTo>
                    <a:pt x="0" y="235"/>
                  </a:moveTo>
                  <a:lnTo>
                    <a:pt x="1" y="211"/>
                  </a:lnTo>
                  <a:lnTo>
                    <a:pt x="5" y="188"/>
                  </a:lnTo>
                  <a:lnTo>
                    <a:pt x="11" y="165"/>
                  </a:lnTo>
                  <a:lnTo>
                    <a:pt x="19" y="144"/>
                  </a:lnTo>
                  <a:lnTo>
                    <a:pt x="28" y="123"/>
                  </a:lnTo>
                  <a:lnTo>
                    <a:pt x="40" y="104"/>
                  </a:lnTo>
                  <a:lnTo>
                    <a:pt x="53" y="86"/>
                  </a:lnTo>
                  <a:lnTo>
                    <a:pt x="69" y="69"/>
                  </a:lnTo>
                  <a:lnTo>
                    <a:pt x="85" y="54"/>
                  </a:lnTo>
                  <a:lnTo>
                    <a:pt x="103" y="41"/>
                  </a:lnTo>
                  <a:lnTo>
                    <a:pt x="122" y="29"/>
                  </a:lnTo>
                  <a:lnTo>
                    <a:pt x="143" y="19"/>
                  </a:lnTo>
                  <a:lnTo>
                    <a:pt x="165" y="11"/>
                  </a:lnTo>
                  <a:lnTo>
                    <a:pt x="187" y="6"/>
                  </a:lnTo>
                  <a:lnTo>
                    <a:pt x="210" y="2"/>
                  </a:lnTo>
                  <a:lnTo>
                    <a:pt x="234" y="0"/>
                  </a:lnTo>
                  <a:lnTo>
                    <a:pt x="258" y="2"/>
                  </a:lnTo>
                  <a:lnTo>
                    <a:pt x="281" y="6"/>
                  </a:lnTo>
                  <a:lnTo>
                    <a:pt x="304" y="11"/>
                  </a:lnTo>
                  <a:lnTo>
                    <a:pt x="325" y="19"/>
                  </a:lnTo>
                  <a:lnTo>
                    <a:pt x="346" y="29"/>
                  </a:lnTo>
                  <a:lnTo>
                    <a:pt x="365" y="41"/>
                  </a:lnTo>
                  <a:lnTo>
                    <a:pt x="383" y="54"/>
                  </a:lnTo>
                  <a:lnTo>
                    <a:pt x="400" y="69"/>
                  </a:lnTo>
                  <a:lnTo>
                    <a:pt x="415" y="86"/>
                  </a:lnTo>
                  <a:lnTo>
                    <a:pt x="428" y="104"/>
                  </a:lnTo>
                  <a:lnTo>
                    <a:pt x="440" y="123"/>
                  </a:lnTo>
                  <a:lnTo>
                    <a:pt x="450" y="143"/>
                  </a:lnTo>
                  <a:lnTo>
                    <a:pt x="458" y="165"/>
                  </a:lnTo>
                  <a:lnTo>
                    <a:pt x="463" y="188"/>
                  </a:lnTo>
                  <a:lnTo>
                    <a:pt x="467" y="211"/>
                  </a:lnTo>
                  <a:lnTo>
                    <a:pt x="468" y="235"/>
                  </a:lnTo>
                  <a:lnTo>
                    <a:pt x="467" y="258"/>
                  </a:lnTo>
                  <a:lnTo>
                    <a:pt x="463" y="282"/>
                  </a:lnTo>
                  <a:lnTo>
                    <a:pt x="458" y="304"/>
                  </a:lnTo>
                  <a:lnTo>
                    <a:pt x="450" y="326"/>
                  </a:lnTo>
                  <a:lnTo>
                    <a:pt x="440" y="346"/>
                  </a:lnTo>
                  <a:lnTo>
                    <a:pt x="428" y="366"/>
                  </a:lnTo>
                  <a:lnTo>
                    <a:pt x="415" y="384"/>
                  </a:lnTo>
                  <a:lnTo>
                    <a:pt x="400" y="400"/>
                  </a:lnTo>
                  <a:lnTo>
                    <a:pt x="383" y="415"/>
                  </a:lnTo>
                  <a:lnTo>
                    <a:pt x="365" y="429"/>
                  </a:lnTo>
                  <a:lnTo>
                    <a:pt x="346" y="440"/>
                  </a:lnTo>
                  <a:lnTo>
                    <a:pt x="326" y="450"/>
                  </a:lnTo>
                  <a:lnTo>
                    <a:pt x="304" y="458"/>
                  </a:lnTo>
                  <a:lnTo>
                    <a:pt x="281" y="464"/>
                  </a:lnTo>
                  <a:lnTo>
                    <a:pt x="258" y="467"/>
                  </a:lnTo>
                  <a:lnTo>
                    <a:pt x="234" y="469"/>
                  </a:lnTo>
                  <a:lnTo>
                    <a:pt x="210" y="467"/>
                  </a:lnTo>
                  <a:lnTo>
                    <a:pt x="187" y="464"/>
                  </a:lnTo>
                  <a:lnTo>
                    <a:pt x="165" y="458"/>
                  </a:lnTo>
                  <a:lnTo>
                    <a:pt x="143" y="450"/>
                  </a:lnTo>
                  <a:lnTo>
                    <a:pt x="123" y="441"/>
                  </a:lnTo>
                  <a:lnTo>
                    <a:pt x="103" y="429"/>
                  </a:lnTo>
                  <a:lnTo>
                    <a:pt x="86" y="415"/>
                  </a:lnTo>
                  <a:lnTo>
                    <a:pt x="69" y="400"/>
                  </a:lnTo>
                  <a:lnTo>
                    <a:pt x="54" y="384"/>
                  </a:lnTo>
                  <a:lnTo>
                    <a:pt x="40" y="366"/>
                  </a:lnTo>
                  <a:lnTo>
                    <a:pt x="28" y="347"/>
                  </a:lnTo>
                  <a:lnTo>
                    <a:pt x="19" y="326"/>
                  </a:lnTo>
                  <a:lnTo>
                    <a:pt x="11" y="304"/>
                  </a:lnTo>
                  <a:lnTo>
                    <a:pt x="5" y="282"/>
                  </a:lnTo>
                  <a:lnTo>
                    <a:pt x="1" y="259"/>
                  </a:lnTo>
                  <a:lnTo>
                    <a:pt x="0" y="235"/>
                  </a:lnTo>
                  <a:close/>
                  <a:moveTo>
                    <a:pt x="6" y="258"/>
                  </a:moveTo>
                  <a:lnTo>
                    <a:pt x="9" y="281"/>
                  </a:lnTo>
                  <a:lnTo>
                    <a:pt x="15" y="303"/>
                  </a:lnTo>
                  <a:lnTo>
                    <a:pt x="23" y="324"/>
                  </a:lnTo>
                  <a:lnTo>
                    <a:pt x="32" y="344"/>
                  </a:lnTo>
                  <a:lnTo>
                    <a:pt x="44" y="363"/>
                  </a:lnTo>
                  <a:lnTo>
                    <a:pt x="57" y="381"/>
                  </a:lnTo>
                  <a:lnTo>
                    <a:pt x="72" y="397"/>
                  </a:lnTo>
                  <a:lnTo>
                    <a:pt x="88" y="412"/>
                  </a:lnTo>
                  <a:lnTo>
                    <a:pt x="106" y="425"/>
                  </a:lnTo>
                  <a:lnTo>
                    <a:pt x="125" y="437"/>
                  </a:lnTo>
                  <a:lnTo>
                    <a:pt x="145" y="446"/>
                  </a:lnTo>
                  <a:lnTo>
                    <a:pt x="166" y="454"/>
                  </a:lnTo>
                  <a:lnTo>
                    <a:pt x="188" y="460"/>
                  </a:lnTo>
                  <a:lnTo>
                    <a:pt x="211" y="463"/>
                  </a:lnTo>
                  <a:lnTo>
                    <a:pt x="234" y="464"/>
                  </a:lnTo>
                  <a:lnTo>
                    <a:pt x="257" y="463"/>
                  </a:lnTo>
                  <a:lnTo>
                    <a:pt x="280" y="460"/>
                  </a:lnTo>
                  <a:lnTo>
                    <a:pt x="302" y="454"/>
                  </a:lnTo>
                  <a:lnTo>
                    <a:pt x="324" y="446"/>
                  </a:lnTo>
                  <a:lnTo>
                    <a:pt x="344" y="437"/>
                  </a:lnTo>
                  <a:lnTo>
                    <a:pt x="363" y="425"/>
                  </a:lnTo>
                  <a:lnTo>
                    <a:pt x="380" y="412"/>
                  </a:lnTo>
                  <a:lnTo>
                    <a:pt x="397" y="397"/>
                  </a:lnTo>
                  <a:lnTo>
                    <a:pt x="411" y="381"/>
                  </a:lnTo>
                  <a:lnTo>
                    <a:pt x="425" y="363"/>
                  </a:lnTo>
                  <a:lnTo>
                    <a:pt x="436" y="344"/>
                  </a:lnTo>
                  <a:lnTo>
                    <a:pt x="446" y="324"/>
                  </a:lnTo>
                  <a:lnTo>
                    <a:pt x="454" y="303"/>
                  </a:lnTo>
                  <a:lnTo>
                    <a:pt x="459" y="281"/>
                  </a:lnTo>
                  <a:lnTo>
                    <a:pt x="463" y="258"/>
                  </a:lnTo>
                  <a:lnTo>
                    <a:pt x="464" y="235"/>
                  </a:lnTo>
                  <a:lnTo>
                    <a:pt x="463" y="211"/>
                  </a:lnTo>
                  <a:lnTo>
                    <a:pt x="459" y="188"/>
                  </a:lnTo>
                  <a:lnTo>
                    <a:pt x="454" y="166"/>
                  </a:lnTo>
                  <a:lnTo>
                    <a:pt x="446" y="145"/>
                  </a:lnTo>
                  <a:lnTo>
                    <a:pt x="436" y="125"/>
                  </a:lnTo>
                  <a:lnTo>
                    <a:pt x="425" y="106"/>
                  </a:lnTo>
                  <a:lnTo>
                    <a:pt x="412" y="89"/>
                  </a:lnTo>
                  <a:lnTo>
                    <a:pt x="397" y="72"/>
                  </a:lnTo>
                  <a:lnTo>
                    <a:pt x="381" y="58"/>
                  </a:lnTo>
                  <a:lnTo>
                    <a:pt x="363" y="44"/>
                  </a:lnTo>
                  <a:lnTo>
                    <a:pt x="344" y="33"/>
                  </a:lnTo>
                  <a:lnTo>
                    <a:pt x="324" y="23"/>
                  </a:lnTo>
                  <a:lnTo>
                    <a:pt x="303" y="15"/>
                  </a:lnTo>
                  <a:lnTo>
                    <a:pt x="280" y="10"/>
                  </a:lnTo>
                  <a:lnTo>
                    <a:pt x="258" y="6"/>
                  </a:lnTo>
                  <a:lnTo>
                    <a:pt x="234" y="5"/>
                  </a:lnTo>
                  <a:lnTo>
                    <a:pt x="211" y="6"/>
                  </a:lnTo>
                  <a:lnTo>
                    <a:pt x="188" y="10"/>
                  </a:lnTo>
                  <a:lnTo>
                    <a:pt x="166" y="15"/>
                  </a:lnTo>
                  <a:lnTo>
                    <a:pt x="145" y="23"/>
                  </a:lnTo>
                  <a:lnTo>
                    <a:pt x="125" y="33"/>
                  </a:lnTo>
                  <a:lnTo>
                    <a:pt x="106" y="44"/>
                  </a:lnTo>
                  <a:lnTo>
                    <a:pt x="88" y="57"/>
                  </a:lnTo>
                  <a:lnTo>
                    <a:pt x="72" y="72"/>
                  </a:lnTo>
                  <a:lnTo>
                    <a:pt x="57" y="89"/>
                  </a:lnTo>
                  <a:lnTo>
                    <a:pt x="44" y="106"/>
                  </a:lnTo>
                  <a:lnTo>
                    <a:pt x="32" y="125"/>
                  </a:lnTo>
                  <a:lnTo>
                    <a:pt x="23" y="145"/>
                  </a:lnTo>
                  <a:lnTo>
                    <a:pt x="15" y="166"/>
                  </a:lnTo>
                  <a:lnTo>
                    <a:pt x="9" y="188"/>
                  </a:lnTo>
                  <a:lnTo>
                    <a:pt x="6" y="211"/>
                  </a:lnTo>
                  <a:lnTo>
                    <a:pt x="4" y="235"/>
                  </a:lnTo>
                  <a:lnTo>
                    <a:pt x="6" y="258"/>
                  </a:lnTo>
                  <a:close/>
                </a:path>
              </a:pathLst>
            </a:custGeom>
            <a:solidFill>
              <a:srgbClr val="000000"/>
            </a:solidFill>
            <a:ln w="0">
              <a:solidFill>
                <a:srgbClr val="000000"/>
              </a:solidFill>
              <a:round/>
              <a:headEnd/>
              <a:tailEnd/>
            </a:ln>
          </p:spPr>
          <p:txBody>
            <a:bodyPr/>
            <a:lstStyle/>
            <a:p>
              <a:endParaRPr lang="en-US"/>
            </a:p>
          </p:txBody>
        </p:sp>
        <p:sp>
          <p:nvSpPr>
            <p:cNvPr id="42088" name="Freeform 84"/>
            <p:cNvSpPr>
              <a:spLocks/>
            </p:cNvSpPr>
            <p:nvPr/>
          </p:nvSpPr>
          <p:spPr bwMode="auto">
            <a:xfrm>
              <a:off x="2651" y="1328"/>
              <a:ext cx="464" cy="463"/>
            </a:xfrm>
            <a:custGeom>
              <a:avLst/>
              <a:gdLst>
                <a:gd name="T0" fmla="*/ 0 w 1648"/>
                <a:gd name="T1" fmla="*/ 18 h 1648"/>
                <a:gd name="T2" fmla="*/ 18 w 1648"/>
                <a:gd name="T3" fmla="*/ 0 h 1648"/>
                <a:gd name="T4" fmla="*/ 18 w 1648"/>
                <a:gd name="T5" fmla="*/ 0 h 1648"/>
                <a:gd name="T6" fmla="*/ 18 w 1648"/>
                <a:gd name="T7" fmla="*/ 0 h 1648"/>
                <a:gd name="T8" fmla="*/ 37 w 1648"/>
                <a:gd name="T9" fmla="*/ 18 h 1648"/>
                <a:gd name="T10" fmla="*/ 37 w 1648"/>
                <a:gd name="T11" fmla="*/ 18 h 1648"/>
                <a:gd name="T12" fmla="*/ 37 w 1648"/>
                <a:gd name="T13" fmla="*/ 18 h 1648"/>
                <a:gd name="T14" fmla="*/ 18 w 1648"/>
                <a:gd name="T15" fmla="*/ 37 h 1648"/>
                <a:gd name="T16" fmla="*/ 18 w 1648"/>
                <a:gd name="T17" fmla="*/ 37 h 1648"/>
                <a:gd name="T18" fmla="*/ 18 w 1648"/>
                <a:gd name="T19" fmla="*/ 37 h 1648"/>
                <a:gd name="T20" fmla="*/ 0 w 1648"/>
                <a:gd name="T21" fmla="*/ 18 h 1648"/>
                <a:gd name="T22" fmla="*/ 0 w 1648"/>
                <a:gd name="T23" fmla="*/ 18 h 16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48"/>
                <a:gd name="T37" fmla="*/ 0 h 1648"/>
                <a:gd name="T38" fmla="*/ 1648 w 1648"/>
                <a:gd name="T39" fmla="*/ 1648 h 16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48" h="1648">
                  <a:moveTo>
                    <a:pt x="0" y="824"/>
                  </a:moveTo>
                  <a:cubicBezTo>
                    <a:pt x="0" y="369"/>
                    <a:pt x="369" y="0"/>
                    <a:pt x="824" y="0"/>
                  </a:cubicBezTo>
                  <a:cubicBezTo>
                    <a:pt x="824" y="0"/>
                    <a:pt x="824" y="0"/>
                    <a:pt x="824" y="0"/>
                  </a:cubicBezTo>
                  <a:cubicBezTo>
                    <a:pt x="1280" y="0"/>
                    <a:pt x="1648" y="369"/>
                    <a:pt x="1648" y="824"/>
                  </a:cubicBezTo>
                  <a:cubicBezTo>
                    <a:pt x="1648" y="824"/>
                    <a:pt x="1648" y="824"/>
                    <a:pt x="1648" y="824"/>
                  </a:cubicBezTo>
                  <a:cubicBezTo>
                    <a:pt x="1648" y="1280"/>
                    <a:pt x="1280" y="1648"/>
                    <a:pt x="824" y="1648"/>
                  </a:cubicBezTo>
                  <a:cubicBezTo>
                    <a:pt x="824" y="1648"/>
                    <a:pt x="824" y="1648"/>
                    <a:pt x="824" y="1648"/>
                  </a:cubicBezTo>
                  <a:cubicBezTo>
                    <a:pt x="369" y="1648"/>
                    <a:pt x="0" y="1280"/>
                    <a:pt x="0" y="824"/>
                  </a:cubicBezTo>
                  <a:cubicBezTo>
                    <a:pt x="0" y="824"/>
                    <a:pt x="0" y="824"/>
                    <a:pt x="0" y="824"/>
                  </a:cubicBezTo>
                  <a:close/>
                </a:path>
              </a:pathLst>
            </a:custGeom>
            <a:pattFill prst="wdUpDiag">
              <a:fgClr>
                <a:srgbClr val="FF0000"/>
              </a:fgClr>
              <a:bgClr>
                <a:srgbClr val="00FF04"/>
              </a:bgClr>
            </a:pattFill>
            <a:ln w="0">
              <a:solidFill>
                <a:srgbClr val="000000"/>
              </a:solidFill>
              <a:round/>
              <a:headEnd/>
              <a:tailEnd/>
            </a:ln>
          </p:spPr>
          <p:txBody>
            <a:bodyPr/>
            <a:lstStyle/>
            <a:p>
              <a:endParaRPr lang="en-US"/>
            </a:p>
          </p:txBody>
        </p:sp>
        <p:sp>
          <p:nvSpPr>
            <p:cNvPr id="42089" name="Freeform 85"/>
            <p:cNvSpPr>
              <a:spLocks noEditPoints="1"/>
            </p:cNvSpPr>
            <p:nvPr/>
          </p:nvSpPr>
          <p:spPr bwMode="auto">
            <a:xfrm>
              <a:off x="2649" y="1325"/>
              <a:ext cx="468" cy="469"/>
            </a:xfrm>
            <a:custGeom>
              <a:avLst/>
              <a:gdLst>
                <a:gd name="T0" fmla="*/ 5 w 468"/>
                <a:gd name="T1" fmla="*/ 188 h 469"/>
                <a:gd name="T2" fmla="*/ 28 w 468"/>
                <a:gd name="T3" fmla="*/ 123 h 469"/>
                <a:gd name="T4" fmla="*/ 69 w 468"/>
                <a:gd name="T5" fmla="*/ 69 h 469"/>
                <a:gd name="T6" fmla="*/ 122 w 468"/>
                <a:gd name="T7" fmla="*/ 29 h 469"/>
                <a:gd name="T8" fmla="*/ 187 w 468"/>
                <a:gd name="T9" fmla="*/ 6 h 469"/>
                <a:gd name="T10" fmla="*/ 258 w 468"/>
                <a:gd name="T11" fmla="*/ 2 h 469"/>
                <a:gd name="T12" fmla="*/ 325 w 468"/>
                <a:gd name="T13" fmla="*/ 19 h 469"/>
                <a:gd name="T14" fmla="*/ 383 w 468"/>
                <a:gd name="T15" fmla="*/ 54 h 469"/>
                <a:gd name="T16" fmla="*/ 428 w 468"/>
                <a:gd name="T17" fmla="*/ 104 h 469"/>
                <a:gd name="T18" fmla="*/ 458 w 468"/>
                <a:gd name="T19" fmla="*/ 165 h 469"/>
                <a:gd name="T20" fmla="*/ 468 w 468"/>
                <a:gd name="T21" fmla="*/ 235 h 469"/>
                <a:gd name="T22" fmla="*/ 458 w 468"/>
                <a:gd name="T23" fmla="*/ 304 h 469"/>
                <a:gd name="T24" fmla="*/ 428 w 468"/>
                <a:gd name="T25" fmla="*/ 366 h 469"/>
                <a:gd name="T26" fmla="*/ 383 w 468"/>
                <a:gd name="T27" fmla="*/ 415 h 469"/>
                <a:gd name="T28" fmla="*/ 326 w 468"/>
                <a:gd name="T29" fmla="*/ 450 h 469"/>
                <a:gd name="T30" fmla="*/ 258 w 468"/>
                <a:gd name="T31" fmla="*/ 467 h 469"/>
                <a:gd name="T32" fmla="*/ 187 w 468"/>
                <a:gd name="T33" fmla="*/ 464 h 469"/>
                <a:gd name="T34" fmla="*/ 123 w 468"/>
                <a:gd name="T35" fmla="*/ 441 h 469"/>
                <a:gd name="T36" fmla="*/ 69 w 468"/>
                <a:gd name="T37" fmla="*/ 400 h 469"/>
                <a:gd name="T38" fmla="*/ 28 w 468"/>
                <a:gd name="T39" fmla="*/ 347 h 469"/>
                <a:gd name="T40" fmla="*/ 5 w 468"/>
                <a:gd name="T41" fmla="*/ 282 h 469"/>
                <a:gd name="T42" fmla="*/ 6 w 468"/>
                <a:gd name="T43" fmla="*/ 258 h 469"/>
                <a:gd name="T44" fmla="*/ 23 w 468"/>
                <a:gd name="T45" fmla="*/ 324 h 469"/>
                <a:gd name="T46" fmla="*/ 57 w 468"/>
                <a:gd name="T47" fmla="*/ 381 h 469"/>
                <a:gd name="T48" fmla="*/ 106 w 468"/>
                <a:gd name="T49" fmla="*/ 425 h 469"/>
                <a:gd name="T50" fmla="*/ 166 w 468"/>
                <a:gd name="T51" fmla="*/ 454 h 469"/>
                <a:gd name="T52" fmla="*/ 234 w 468"/>
                <a:gd name="T53" fmla="*/ 464 h 469"/>
                <a:gd name="T54" fmla="*/ 302 w 468"/>
                <a:gd name="T55" fmla="*/ 454 h 469"/>
                <a:gd name="T56" fmla="*/ 363 w 468"/>
                <a:gd name="T57" fmla="*/ 425 h 469"/>
                <a:gd name="T58" fmla="*/ 411 w 468"/>
                <a:gd name="T59" fmla="*/ 381 h 469"/>
                <a:gd name="T60" fmla="*/ 446 w 468"/>
                <a:gd name="T61" fmla="*/ 324 h 469"/>
                <a:gd name="T62" fmla="*/ 463 w 468"/>
                <a:gd name="T63" fmla="*/ 258 h 469"/>
                <a:gd name="T64" fmla="*/ 459 w 468"/>
                <a:gd name="T65" fmla="*/ 188 h 469"/>
                <a:gd name="T66" fmla="*/ 436 w 468"/>
                <a:gd name="T67" fmla="*/ 125 h 469"/>
                <a:gd name="T68" fmla="*/ 397 w 468"/>
                <a:gd name="T69" fmla="*/ 72 h 469"/>
                <a:gd name="T70" fmla="*/ 344 w 468"/>
                <a:gd name="T71" fmla="*/ 33 h 469"/>
                <a:gd name="T72" fmla="*/ 280 w 468"/>
                <a:gd name="T73" fmla="*/ 10 h 469"/>
                <a:gd name="T74" fmla="*/ 211 w 468"/>
                <a:gd name="T75" fmla="*/ 6 h 469"/>
                <a:gd name="T76" fmla="*/ 145 w 468"/>
                <a:gd name="T77" fmla="*/ 23 h 469"/>
                <a:gd name="T78" fmla="*/ 88 w 468"/>
                <a:gd name="T79" fmla="*/ 57 h 469"/>
                <a:gd name="T80" fmla="*/ 44 w 468"/>
                <a:gd name="T81" fmla="*/ 106 h 469"/>
                <a:gd name="T82" fmla="*/ 15 w 468"/>
                <a:gd name="T83" fmla="*/ 166 h 469"/>
                <a:gd name="T84" fmla="*/ 4 w 468"/>
                <a:gd name="T85" fmla="*/ 235 h 46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68"/>
                <a:gd name="T130" fmla="*/ 0 h 469"/>
                <a:gd name="T131" fmla="*/ 468 w 468"/>
                <a:gd name="T132" fmla="*/ 469 h 46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68" h="469">
                  <a:moveTo>
                    <a:pt x="0" y="235"/>
                  </a:moveTo>
                  <a:lnTo>
                    <a:pt x="1" y="211"/>
                  </a:lnTo>
                  <a:lnTo>
                    <a:pt x="5" y="188"/>
                  </a:lnTo>
                  <a:lnTo>
                    <a:pt x="11" y="165"/>
                  </a:lnTo>
                  <a:lnTo>
                    <a:pt x="19" y="144"/>
                  </a:lnTo>
                  <a:lnTo>
                    <a:pt x="28" y="123"/>
                  </a:lnTo>
                  <a:lnTo>
                    <a:pt x="40" y="104"/>
                  </a:lnTo>
                  <a:lnTo>
                    <a:pt x="53" y="86"/>
                  </a:lnTo>
                  <a:lnTo>
                    <a:pt x="69" y="69"/>
                  </a:lnTo>
                  <a:lnTo>
                    <a:pt x="85" y="54"/>
                  </a:lnTo>
                  <a:lnTo>
                    <a:pt x="103" y="41"/>
                  </a:lnTo>
                  <a:lnTo>
                    <a:pt x="122" y="29"/>
                  </a:lnTo>
                  <a:lnTo>
                    <a:pt x="143" y="19"/>
                  </a:lnTo>
                  <a:lnTo>
                    <a:pt x="165" y="11"/>
                  </a:lnTo>
                  <a:lnTo>
                    <a:pt x="187" y="6"/>
                  </a:lnTo>
                  <a:lnTo>
                    <a:pt x="210" y="2"/>
                  </a:lnTo>
                  <a:lnTo>
                    <a:pt x="234" y="0"/>
                  </a:lnTo>
                  <a:lnTo>
                    <a:pt x="258" y="2"/>
                  </a:lnTo>
                  <a:lnTo>
                    <a:pt x="281" y="6"/>
                  </a:lnTo>
                  <a:lnTo>
                    <a:pt x="304" y="11"/>
                  </a:lnTo>
                  <a:lnTo>
                    <a:pt x="325" y="19"/>
                  </a:lnTo>
                  <a:lnTo>
                    <a:pt x="346" y="29"/>
                  </a:lnTo>
                  <a:lnTo>
                    <a:pt x="365" y="41"/>
                  </a:lnTo>
                  <a:lnTo>
                    <a:pt x="383" y="54"/>
                  </a:lnTo>
                  <a:lnTo>
                    <a:pt x="400" y="69"/>
                  </a:lnTo>
                  <a:lnTo>
                    <a:pt x="415" y="86"/>
                  </a:lnTo>
                  <a:lnTo>
                    <a:pt x="428" y="104"/>
                  </a:lnTo>
                  <a:lnTo>
                    <a:pt x="440" y="123"/>
                  </a:lnTo>
                  <a:lnTo>
                    <a:pt x="450" y="143"/>
                  </a:lnTo>
                  <a:lnTo>
                    <a:pt x="458" y="165"/>
                  </a:lnTo>
                  <a:lnTo>
                    <a:pt x="463" y="188"/>
                  </a:lnTo>
                  <a:lnTo>
                    <a:pt x="467" y="211"/>
                  </a:lnTo>
                  <a:lnTo>
                    <a:pt x="468" y="235"/>
                  </a:lnTo>
                  <a:lnTo>
                    <a:pt x="467" y="258"/>
                  </a:lnTo>
                  <a:lnTo>
                    <a:pt x="463" y="282"/>
                  </a:lnTo>
                  <a:lnTo>
                    <a:pt x="458" y="304"/>
                  </a:lnTo>
                  <a:lnTo>
                    <a:pt x="450" y="326"/>
                  </a:lnTo>
                  <a:lnTo>
                    <a:pt x="440" y="346"/>
                  </a:lnTo>
                  <a:lnTo>
                    <a:pt x="428" y="366"/>
                  </a:lnTo>
                  <a:lnTo>
                    <a:pt x="415" y="384"/>
                  </a:lnTo>
                  <a:lnTo>
                    <a:pt x="400" y="400"/>
                  </a:lnTo>
                  <a:lnTo>
                    <a:pt x="383" y="415"/>
                  </a:lnTo>
                  <a:lnTo>
                    <a:pt x="365" y="429"/>
                  </a:lnTo>
                  <a:lnTo>
                    <a:pt x="346" y="440"/>
                  </a:lnTo>
                  <a:lnTo>
                    <a:pt x="326" y="450"/>
                  </a:lnTo>
                  <a:lnTo>
                    <a:pt x="304" y="458"/>
                  </a:lnTo>
                  <a:lnTo>
                    <a:pt x="281" y="464"/>
                  </a:lnTo>
                  <a:lnTo>
                    <a:pt x="258" y="467"/>
                  </a:lnTo>
                  <a:lnTo>
                    <a:pt x="234" y="469"/>
                  </a:lnTo>
                  <a:lnTo>
                    <a:pt x="210" y="467"/>
                  </a:lnTo>
                  <a:lnTo>
                    <a:pt x="187" y="464"/>
                  </a:lnTo>
                  <a:lnTo>
                    <a:pt x="165" y="458"/>
                  </a:lnTo>
                  <a:lnTo>
                    <a:pt x="143" y="450"/>
                  </a:lnTo>
                  <a:lnTo>
                    <a:pt x="123" y="441"/>
                  </a:lnTo>
                  <a:lnTo>
                    <a:pt x="103" y="429"/>
                  </a:lnTo>
                  <a:lnTo>
                    <a:pt x="86" y="415"/>
                  </a:lnTo>
                  <a:lnTo>
                    <a:pt x="69" y="400"/>
                  </a:lnTo>
                  <a:lnTo>
                    <a:pt x="54" y="384"/>
                  </a:lnTo>
                  <a:lnTo>
                    <a:pt x="40" y="366"/>
                  </a:lnTo>
                  <a:lnTo>
                    <a:pt x="28" y="347"/>
                  </a:lnTo>
                  <a:lnTo>
                    <a:pt x="19" y="326"/>
                  </a:lnTo>
                  <a:lnTo>
                    <a:pt x="11" y="304"/>
                  </a:lnTo>
                  <a:lnTo>
                    <a:pt x="5" y="282"/>
                  </a:lnTo>
                  <a:lnTo>
                    <a:pt x="1" y="259"/>
                  </a:lnTo>
                  <a:lnTo>
                    <a:pt x="0" y="235"/>
                  </a:lnTo>
                  <a:close/>
                  <a:moveTo>
                    <a:pt x="6" y="258"/>
                  </a:moveTo>
                  <a:lnTo>
                    <a:pt x="9" y="281"/>
                  </a:lnTo>
                  <a:lnTo>
                    <a:pt x="15" y="303"/>
                  </a:lnTo>
                  <a:lnTo>
                    <a:pt x="23" y="324"/>
                  </a:lnTo>
                  <a:lnTo>
                    <a:pt x="32" y="344"/>
                  </a:lnTo>
                  <a:lnTo>
                    <a:pt x="44" y="363"/>
                  </a:lnTo>
                  <a:lnTo>
                    <a:pt x="57" y="381"/>
                  </a:lnTo>
                  <a:lnTo>
                    <a:pt x="72" y="397"/>
                  </a:lnTo>
                  <a:lnTo>
                    <a:pt x="88" y="412"/>
                  </a:lnTo>
                  <a:lnTo>
                    <a:pt x="106" y="425"/>
                  </a:lnTo>
                  <a:lnTo>
                    <a:pt x="125" y="437"/>
                  </a:lnTo>
                  <a:lnTo>
                    <a:pt x="145" y="446"/>
                  </a:lnTo>
                  <a:lnTo>
                    <a:pt x="166" y="454"/>
                  </a:lnTo>
                  <a:lnTo>
                    <a:pt x="188" y="460"/>
                  </a:lnTo>
                  <a:lnTo>
                    <a:pt x="211" y="463"/>
                  </a:lnTo>
                  <a:lnTo>
                    <a:pt x="234" y="464"/>
                  </a:lnTo>
                  <a:lnTo>
                    <a:pt x="257" y="463"/>
                  </a:lnTo>
                  <a:lnTo>
                    <a:pt x="280" y="460"/>
                  </a:lnTo>
                  <a:lnTo>
                    <a:pt x="302" y="454"/>
                  </a:lnTo>
                  <a:lnTo>
                    <a:pt x="324" y="446"/>
                  </a:lnTo>
                  <a:lnTo>
                    <a:pt x="344" y="437"/>
                  </a:lnTo>
                  <a:lnTo>
                    <a:pt x="363" y="425"/>
                  </a:lnTo>
                  <a:lnTo>
                    <a:pt x="380" y="412"/>
                  </a:lnTo>
                  <a:lnTo>
                    <a:pt x="397" y="397"/>
                  </a:lnTo>
                  <a:lnTo>
                    <a:pt x="411" y="381"/>
                  </a:lnTo>
                  <a:lnTo>
                    <a:pt x="425" y="363"/>
                  </a:lnTo>
                  <a:lnTo>
                    <a:pt x="436" y="344"/>
                  </a:lnTo>
                  <a:lnTo>
                    <a:pt x="446" y="324"/>
                  </a:lnTo>
                  <a:lnTo>
                    <a:pt x="454" y="303"/>
                  </a:lnTo>
                  <a:lnTo>
                    <a:pt x="459" y="281"/>
                  </a:lnTo>
                  <a:lnTo>
                    <a:pt x="463" y="258"/>
                  </a:lnTo>
                  <a:lnTo>
                    <a:pt x="464" y="235"/>
                  </a:lnTo>
                  <a:lnTo>
                    <a:pt x="463" y="211"/>
                  </a:lnTo>
                  <a:lnTo>
                    <a:pt x="459" y="188"/>
                  </a:lnTo>
                  <a:lnTo>
                    <a:pt x="454" y="166"/>
                  </a:lnTo>
                  <a:lnTo>
                    <a:pt x="446" y="145"/>
                  </a:lnTo>
                  <a:lnTo>
                    <a:pt x="436" y="125"/>
                  </a:lnTo>
                  <a:lnTo>
                    <a:pt x="425" y="106"/>
                  </a:lnTo>
                  <a:lnTo>
                    <a:pt x="412" y="89"/>
                  </a:lnTo>
                  <a:lnTo>
                    <a:pt x="397" y="72"/>
                  </a:lnTo>
                  <a:lnTo>
                    <a:pt x="381" y="58"/>
                  </a:lnTo>
                  <a:lnTo>
                    <a:pt x="363" y="44"/>
                  </a:lnTo>
                  <a:lnTo>
                    <a:pt x="344" y="33"/>
                  </a:lnTo>
                  <a:lnTo>
                    <a:pt x="324" y="23"/>
                  </a:lnTo>
                  <a:lnTo>
                    <a:pt x="303" y="15"/>
                  </a:lnTo>
                  <a:lnTo>
                    <a:pt x="280" y="10"/>
                  </a:lnTo>
                  <a:lnTo>
                    <a:pt x="258" y="6"/>
                  </a:lnTo>
                  <a:lnTo>
                    <a:pt x="234" y="5"/>
                  </a:lnTo>
                  <a:lnTo>
                    <a:pt x="211" y="6"/>
                  </a:lnTo>
                  <a:lnTo>
                    <a:pt x="188" y="10"/>
                  </a:lnTo>
                  <a:lnTo>
                    <a:pt x="166" y="15"/>
                  </a:lnTo>
                  <a:lnTo>
                    <a:pt x="145" y="23"/>
                  </a:lnTo>
                  <a:lnTo>
                    <a:pt x="125" y="33"/>
                  </a:lnTo>
                  <a:lnTo>
                    <a:pt x="106" y="44"/>
                  </a:lnTo>
                  <a:lnTo>
                    <a:pt x="88" y="57"/>
                  </a:lnTo>
                  <a:lnTo>
                    <a:pt x="72" y="72"/>
                  </a:lnTo>
                  <a:lnTo>
                    <a:pt x="57" y="89"/>
                  </a:lnTo>
                  <a:lnTo>
                    <a:pt x="44" y="106"/>
                  </a:lnTo>
                  <a:lnTo>
                    <a:pt x="32" y="125"/>
                  </a:lnTo>
                  <a:lnTo>
                    <a:pt x="23" y="145"/>
                  </a:lnTo>
                  <a:lnTo>
                    <a:pt x="15" y="166"/>
                  </a:lnTo>
                  <a:lnTo>
                    <a:pt x="9" y="188"/>
                  </a:lnTo>
                  <a:lnTo>
                    <a:pt x="6" y="211"/>
                  </a:lnTo>
                  <a:lnTo>
                    <a:pt x="4" y="235"/>
                  </a:lnTo>
                  <a:lnTo>
                    <a:pt x="6" y="258"/>
                  </a:lnTo>
                  <a:close/>
                </a:path>
              </a:pathLst>
            </a:custGeom>
            <a:solidFill>
              <a:srgbClr val="000000"/>
            </a:solidFill>
            <a:ln w="0">
              <a:solidFill>
                <a:srgbClr val="000000"/>
              </a:solidFill>
              <a:round/>
              <a:headEnd/>
              <a:tailEnd/>
            </a:ln>
          </p:spPr>
          <p:txBody>
            <a:bodyPr/>
            <a:lstStyle/>
            <a:p>
              <a:endParaRPr lang="en-US"/>
            </a:p>
          </p:txBody>
        </p:sp>
        <p:sp>
          <p:nvSpPr>
            <p:cNvPr id="42090" name="Freeform 86"/>
            <p:cNvSpPr>
              <a:spLocks noEditPoints="1"/>
            </p:cNvSpPr>
            <p:nvPr/>
          </p:nvSpPr>
          <p:spPr bwMode="auto">
            <a:xfrm>
              <a:off x="2660" y="1395"/>
              <a:ext cx="95" cy="252"/>
            </a:xfrm>
            <a:custGeom>
              <a:avLst/>
              <a:gdLst>
                <a:gd name="T0" fmla="*/ 7 w 336"/>
                <a:gd name="T1" fmla="*/ 1 h 896"/>
                <a:gd name="T2" fmla="*/ 7 w 336"/>
                <a:gd name="T3" fmla="*/ 1 h 896"/>
                <a:gd name="T4" fmla="*/ 7 w 336"/>
                <a:gd name="T5" fmla="*/ 0 h 896"/>
                <a:gd name="T6" fmla="*/ 7 w 336"/>
                <a:gd name="T7" fmla="*/ 2 h 896"/>
                <a:gd name="T8" fmla="*/ 7 w 336"/>
                <a:gd name="T9" fmla="*/ 2 h 896"/>
                <a:gd name="T10" fmla="*/ 7 w 336"/>
                <a:gd name="T11" fmla="*/ 2 h 896"/>
                <a:gd name="T12" fmla="*/ 7 w 336"/>
                <a:gd name="T13" fmla="*/ 2 h 896"/>
                <a:gd name="T14" fmla="*/ 7 w 336"/>
                <a:gd name="T15" fmla="*/ 2 h 896"/>
                <a:gd name="T16" fmla="*/ 8 w 336"/>
                <a:gd name="T17" fmla="*/ 4 h 896"/>
                <a:gd name="T18" fmla="*/ 7 w 336"/>
                <a:gd name="T19" fmla="*/ 4 h 896"/>
                <a:gd name="T20" fmla="*/ 7 w 336"/>
                <a:gd name="T21" fmla="*/ 3 h 896"/>
                <a:gd name="T22" fmla="*/ 8 w 336"/>
                <a:gd name="T23" fmla="*/ 5 h 896"/>
                <a:gd name="T24" fmla="*/ 8 w 336"/>
                <a:gd name="T25" fmla="*/ 6 h 896"/>
                <a:gd name="T26" fmla="*/ 7 w 336"/>
                <a:gd name="T27" fmla="*/ 6 h 896"/>
                <a:gd name="T28" fmla="*/ 7 w 336"/>
                <a:gd name="T29" fmla="*/ 5 h 896"/>
                <a:gd name="T30" fmla="*/ 8 w 336"/>
                <a:gd name="T31" fmla="*/ 5 h 896"/>
                <a:gd name="T32" fmla="*/ 7 w 336"/>
                <a:gd name="T33" fmla="*/ 7 h 896"/>
                <a:gd name="T34" fmla="*/ 7 w 336"/>
                <a:gd name="T35" fmla="*/ 7 h 896"/>
                <a:gd name="T36" fmla="*/ 7 w 336"/>
                <a:gd name="T37" fmla="*/ 7 h 896"/>
                <a:gd name="T38" fmla="*/ 7 w 336"/>
                <a:gd name="T39" fmla="*/ 6 h 896"/>
                <a:gd name="T40" fmla="*/ 7 w 336"/>
                <a:gd name="T41" fmla="*/ 8 h 896"/>
                <a:gd name="T42" fmla="*/ 7 w 336"/>
                <a:gd name="T43" fmla="*/ 9 h 896"/>
                <a:gd name="T44" fmla="*/ 7 w 336"/>
                <a:gd name="T45" fmla="*/ 9 h 896"/>
                <a:gd name="T46" fmla="*/ 7 w 336"/>
                <a:gd name="T47" fmla="*/ 8 h 896"/>
                <a:gd name="T48" fmla="*/ 7 w 336"/>
                <a:gd name="T49" fmla="*/ 8 h 896"/>
                <a:gd name="T50" fmla="*/ 6 w 336"/>
                <a:gd name="T51" fmla="*/ 10 h 896"/>
                <a:gd name="T52" fmla="*/ 6 w 336"/>
                <a:gd name="T53" fmla="*/ 10 h 896"/>
                <a:gd name="T54" fmla="*/ 6 w 336"/>
                <a:gd name="T55" fmla="*/ 10 h 896"/>
                <a:gd name="T56" fmla="*/ 6 w 336"/>
                <a:gd name="T57" fmla="*/ 11 h 896"/>
                <a:gd name="T58" fmla="*/ 6 w 336"/>
                <a:gd name="T59" fmla="*/ 12 h 896"/>
                <a:gd name="T60" fmla="*/ 5 w 336"/>
                <a:gd name="T61" fmla="*/ 12 h 896"/>
                <a:gd name="T62" fmla="*/ 6 w 336"/>
                <a:gd name="T63" fmla="*/ 11 h 896"/>
                <a:gd name="T64" fmla="*/ 6 w 336"/>
                <a:gd name="T65" fmla="*/ 11 h 896"/>
                <a:gd name="T66" fmla="*/ 5 w 336"/>
                <a:gd name="T67" fmla="*/ 13 h 896"/>
                <a:gd name="T68" fmla="*/ 5 w 336"/>
                <a:gd name="T69" fmla="*/ 14 h 896"/>
                <a:gd name="T70" fmla="*/ 5 w 336"/>
                <a:gd name="T71" fmla="*/ 13 h 896"/>
                <a:gd name="T72" fmla="*/ 5 w 336"/>
                <a:gd name="T73" fmla="*/ 13 h 896"/>
                <a:gd name="T74" fmla="*/ 4 w 336"/>
                <a:gd name="T75" fmla="*/ 14 h 896"/>
                <a:gd name="T76" fmla="*/ 4 w 336"/>
                <a:gd name="T77" fmla="*/ 15 h 896"/>
                <a:gd name="T78" fmla="*/ 4 w 336"/>
                <a:gd name="T79" fmla="*/ 14 h 896"/>
                <a:gd name="T80" fmla="*/ 4 w 336"/>
                <a:gd name="T81" fmla="*/ 14 h 896"/>
                <a:gd name="T82" fmla="*/ 3 w 336"/>
                <a:gd name="T83" fmla="*/ 16 h 896"/>
                <a:gd name="T84" fmla="*/ 3 w 336"/>
                <a:gd name="T85" fmla="*/ 16 h 896"/>
                <a:gd name="T86" fmla="*/ 3 w 336"/>
                <a:gd name="T87" fmla="*/ 15 h 896"/>
                <a:gd name="T88" fmla="*/ 3 w 336"/>
                <a:gd name="T89" fmla="*/ 17 h 896"/>
                <a:gd name="T90" fmla="*/ 2 w 336"/>
                <a:gd name="T91" fmla="*/ 18 h 896"/>
                <a:gd name="T92" fmla="*/ 2 w 336"/>
                <a:gd name="T93" fmla="*/ 17 h 896"/>
                <a:gd name="T94" fmla="*/ 3 w 336"/>
                <a:gd name="T95" fmla="*/ 17 h 896"/>
                <a:gd name="T96" fmla="*/ 1 w 336"/>
                <a:gd name="T97" fmla="*/ 19 h 896"/>
                <a:gd name="T98" fmla="*/ 1 w 336"/>
                <a:gd name="T99" fmla="*/ 19 h 896"/>
                <a:gd name="T100" fmla="*/ 1 w 336"/>
                <a:gd name="T101" fmla="*/ 18 h 896"/>
                <a:gd name="T102" fmla="*/ 0 w 336"/>
                <a:gd name="T103" fmla="*/ 20 h 896"/>
                <a:gd name="T104" fmla="*/ 0 w 336"/>
                <a:gd name="T105" fmla="*/ 20 h 896"/>
                <a:gd name="T106" fmla="*/ 0 w 336"/>
                <a:gd name="T107" fmla="*/ 20 h 896"/>
                <a:gd name="T108" fmla="*/ 0 w 336"/>
                <a:gd name="T109" fmla="*/ 20 h 89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36"/>
                <a:gd name="T166" fmla="*/ 0 h 896"/>
                <a:gd name="T167" fmla="*/ 336 w 336"/>
                <a:gd name="T168" fmla="*/ 896 h 89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36" h="896">
                  <a:moveTo>
                    <a:pt x="291" y="4"/>
                  </a:moveTo>
                  <a:lnTo>
                    <a:pt x="307" y="31"/>
                  </a:lnTo>
                  <a:cubicBezTo>
                    <a:pt x="309" y="34"/>
                    <a:pt x="308" y="37"/>
                    <a:pt x="305" y="39"/>
                  </a:cubicBezTo>
                  <a:cubicBezTo>
                    <a:pt x="303" y="40"/>
                    <a:pt x="299" y="39"/>
                    <a:pt x="298" y="37"/>
                  </a:cubicBezTo>
                  <a:lnTo>
                    <a:pt x="282" y="9"/>
                  </a:lnTo>
                  <a:cubicBezTo>
                    <a:pt x="280" y="7"/>
                    <a:pt x="281" y="3"/>
                    <a:pt x="284" y="2"/>
                  </a:cubicBezTo>
                  <a:cubicBezTo>
                    <a:pt x="286" y="0"/>
                    <a:pt x="289" y="1"/>
                    <a:pt x="291" y="4"/>
                  </a:cubicBezTo>
                  <a:close/>
                  <a:moveTo>
                    <a:pt x="323" y="73"/>
                  </a:moveTo>
                  <a:lnTo>
                    <a:pt x="330" y="100"/>
                  </a:lnTo>
                  <a:lnTo>
                    <a:pt x="330" y="104"/>
                  </a:lnTo>
                  <a:cubicBezTo>
                    <a:pt x="330" y="107"/>
                    <a:pt x="329" y="110"/>
                    <a:pt x="326" y="110"/>
                  </a:cubicBezTo>
                  <a:cubicBezTo>
                    <a:pt x="323" y="110"/>
                    <a:pt x="320" y="108"/>
                    <a:pt x="320" y="105"/>
                  </a:cubicBezTo>
                  <a:lnTo>
                    <a:pt x="319" y="102"/>
                  </a:lnTo>
                  <a:lnTo>
                    <a:pt x="312" y="75"/>
                  </a:lnTo>
                  <a:cubicBezTo>
                    <a:pt x="312" y="72"/>
                    <a:pt x="313" y="69"/>
                    <a:pt x="316" y="69"/>
                  </a:cubicBezTo>
                  <a:cubicBezTo>
                    <a:pt x="319" y="68"/>
                    <a:pt x="322" y="70"/>
                    <a:pt x="323" y="73"/>
                  </a:cubicBezTo>
                  <a:close/>
                  <a:moveTo>
                    <a:pt x="335" y="147"/>
                  </a:moveTo>
                  <a:lnTo>
                    <a:pt x="336" y="179"/>
                  </a:lnTo>
                  <a:cubicBezTo>
                    <a:pt x="336" y="182"/>
                    <a:pt x="334" y="184"/>
                    <a:pt x="331" y="184"/>
                  </a:cubicBezTo>
                  <a:cubicBezTo>
                    <a:pt x="328" y="184"/>
                    <a:pt x="326" y="182"/>
                    <a:pt x="326" y="179"/>
                  </a:cubicBezTo>
                  <a:lnTo>
                    <a:pt x="324" y="147"/>
                  </a:lnTo>
                  <a:cubicBezTo>
                    <a:pt x="324" y="144"/>
                    <a:pt x="327" y="142"/>
                    <a:pt x="330" y="142"/>
                  </a:cubicBezTo>
                  <a:cubicBezTo>
                    <a:pt x="333" y="142"/>
                    <a:pt x="335" y="144"/>
                    <a:pt x="335" y="147"/>
                  </a:cubicBezTo>
                  <a:close/>
                  <a:moveTo>
                    <a:pt x="334" y="221"/>
                  </a:moveTo>
                  <a:lnTo>
                    <a:pt x="334" y="224"/>
                  </a:lnTo>
                  <a:lnTo>
                    <a:pt x="331" y="254"/>
                  </a:lnTo>
                  <a:cubicBezTo>
                    <a:pt x="330" y="257"/>
                    <a:pt x="328" y="259"/>
                    <a:pt x="325" y="258"/>
                  </a:cubicBezTo>
                  <a:cubicBezTo>
                    <a:pt x="322" y="258"/>
                    <a:pt x="320" y="255"/>
                    <a:pt x="320" y="252"/>
                  </a:cubicBezTo>
                  <a:lnTo>
                    <a:pt x="323" y="224"/>
                  </a:lnTo>
                  <a:lnTo>
                    <a:pt x="324" y="221"/>
                  </a:lnTo>
                  <a:cubicBezTo>
                    <a:pt x="324" y="218"/>
                    <a:pt x="326" y="216"/>
                    <a:pt x="329" y="216"/>
                  </a:cubicBezTo>
                  <a:cubicBezTo>
                    <a:pt x="332" y="216"/>
                    <a:pt x="335" y="219"/>
                    <a:pt x="334" y="221"/>
                  </a:cubicBezTo>
                  <a:close/>
                  <a:moveTo>
                    <a:pt x="324" y="296"/>
                  </a:moveTo>
                  <a:lnTo>
                    <a:pt x="319" y="319"/>
                  </a:lnTo>
                  <a:lnTo>
                    <a:pt x="317" y="327"/>
                  </a:lnTo>
                  <a:cubicBezTo>
                    <a:pt x="317" y="330"/>
                    <a:pt x="314" y="332"/>
                    <a:pt x="311" y="331"/>
                  </a:cubicBezTo>
                  <a:cubicBezTo>
                    <a:pt x="308" y="331"/>
                    <a:pt x="306" y="328"/>
                    <a:pt x="307" y="325"/>
                  </a:cubicBezTo>
                  <a:lnTo>
                    <a:pt x="309" y="317"/>
                  </a:lnTo>
                  <a:lnTo>
                    <a:pt x="313" y="294"/>
                  </a:lnTo>
                  <a:cubicBezTo>
                    <a:pt x="314" y="291"/>
                    <a:pt x="317" y="289"/>
                    <a:pt x="320" y="290"/>
                  </a:cubicBezTo>
                  <a:cubicBezTo>
                    <a:pt x="322" y="290"/>
                    <a:pt x="324" y="293"/>
                    <a:pt x="324" y="296"/>
                  </a:cubicBezTo>
                  <a:close/>
                  <a:moveTo>
                    <a:pt x="307" y="369"/>
                  </a:moveTo>
                  <a:lnTo>
                    <a:pt x="307" y="369"/>
                  </a:lnTo>
                  <a:lnTo>
                    <a:pt x="297" y="399"/>
                  </a:lnTo>
                  <a:cubicBezTo>
                    <a:pt x="296" y="402"/>
                    <a:pt x="293" y="404"/>
                    <a:pt x="291" y="403"/>
                  </a:cubicBezTo>
                  <a:cubicBezTo>
                    <a:pt x="288" y="402"/>
                    <a:pt x="286" y="399"/>
                    <a:pt x="287" y="396"/>
                  </a:cubicBezTo>
                  <a:lnTo>
                    <a:pt x="296" y="366"/>
                  </a:lnTo>
                  <a:cubicBezTo>
                    <a:pt x="297" y="363"/>
                    <a:pt x="300" y="362"/>
                    <a:pt x="303" y="362"/>
                  </a:cubicBezTo>
                  <a:cubicBezTo>
                    <a:pt x="306" y="363"/>
                    <a:pt x="307" y="366"/>
                    <a:pt x="307" y="369"/>
                  </a:cubicBezTo>
                  <a:close/>
                  <a:moveTo>
                    <a:pt x="284" y="440"/>
                  </a:moveTo>
                  <a:lnTo>
                    <a:pt x="273" y="470"/>
                  </a:lnTo>
                  <a:cubicBezTo>
                    <a:pt x="271" y="472"/>
                    <a:pt x="268" y="474"/>
                    <a:pt x="266" y="473"/>
                  </a:cubicBezTo>
                  <a:cubicBezTo>
                    <a:pt x="263" y="472"/>
                    <a:pt x="261" y="469"/>
                    <a:pt x="262" y="466"/>
                  </a:cubicBezTo>
                  <a:lnTo>
                    <a:pt x="274" y="436"/>
                  </a:lnTo>
                  <a:cubicBezTo>
                    <a:pt x="274" y="433"/>
                    <a:pt x="278" y="432"/>
                    <a:pt x="280" y="433"/>
                  </a:cubicBezTo>
                  <a:cubicBezTo>
                    <a:pt x="283" y="434"/>
                    <a:pt x="284" y="437"/>
                    <a:pt x="284" y="440"/>
                  </a:cubicBezTo>
                  <a:close/>
                  <a:moveTo>
                    <a:pt x="256" y="509"/>
                  </a:moveTo>
                  <a:lnTo>
                    <a:pt x="249" y="526"/>
                  </a:lnTo>
                  <a:lnTo>
                    <a:pt x="243" y="539"/>
                  </a:lnTo>
                  <a:cubicBezTo>
                    <a:pt x="242" y="541"/>
                    <a:pt x="239" y="542"/>
                    <a:pt x="236" y="541"/>
                  </a:cubicBezTo>
                  <a:cubicBezTo>
                    <a:pt x="233" y="540"/>
                    <a:pt x="232" y="537"/>
                    <a:pt x="233" y="534"/>
                  </a:cubicBezTo>
                  <a:lnTo>
                    <a:pt x="239" y="522"/>
                  </a:lnTo>
                  <a:lnTo>
                    <a:pt x="246" y="505"/>
                  </a:lnTo>
                  <a:cubicBezTo>
                    <a:pt x="247" y="502"/>
                    <a:pt x="250" y="501"/>
                    <a:pt x="253" y="502"/>
                  </a:cubicBezTo>
                  <a:cubicBezTo>
                    <a:pt x="256" y="504"/>
                    <a:pt x="257" y="506"/>
                    <a:pt x="256" y="509"/>
                  </a:cubicBezTo>
                  <a:close/>
                  <a:moveTo>
                    <a:pt x="225" y="577"/>
                  </a:moveTo>
                  <a:lnTo>
                    <a:pt x="223" y="580"/>
                  </a:lnTo>
                  <a:lnTo>
                    <a:pt x="210" y="606"/>
                  </a:lnTo>
                  <a:cubicBezTo>
                    <a:pt x="208" y="608"/>
                    <a:pt x="205" y="609"/>
                    <a:pt x="203" y="608"/>
                  </a:cubicBezTo>
                  <a:cubicBezTo>
                    <a:pt x="200" y="606"/>
                    <a:pt x="199" y="603"/>
                    <a:pt x="200" y="601"/>
                  </a:cubicBezTo>
                  <a:lnTo>
                    <a:pt x="214" y="576"/>
                  </a:lnTo>
                  <a:lnTo>
                    <a:pt x="215" y="573"/>
                  </a:lnTo>
                  <a:cubicBezTo>
                    <a:pt x="216" y="570"/>
                    <a:pt x="219" y="569"/>
                    <a:pt x="222" y="570"/>
                  </a:cubicBezTo>
                  <a:cubicBezTo>
                    <a:pt x="225" y="571"/>
                    <a:pt x="226" y="574"/>
                    <a:pt x="225" y="577"/>
                  </a:cubicBezTo>
                  <a:close/>
                  <a:moveTo>
                    <a:pt x="189" y="643"/>
                  </a:moveTo>
                  <a:lnTo>
                    <a:pt x="173" y="671"/>
                  </a:lnTo>
                  <a:cubicBezTo>
                    <a:pt x="172" y="673"/>
                    <a:pt x="168" y="674"/>
                    <a:pt x="166" y="672"/>
                  </a:cubicBezTo>
                  <a:cubicBezTo>
                    <a:pt x="163" y="671"/>
                    <a:pt x="162" y="668"/>
                    <a:pt x="164" y="665"/>
                  </a:cubicBezTo>
                  <a:lnTo>
                    <a:pt x="180" y="638"/>
                  </a:lnTo>
                  <a:cubicBezTo>
                    <a:pt x="182" y="635"/>
                    <a:pt x="185" y="634"/>
                    <a:pt x="187" y="636"/>
                  </a:cubicBezTo>
                  <a:cubicBezTo>
                    <a:pt x="190" y="637"/>
                    <a:pt x="191" y="641"/>
                    <a:pt x="189" y="643"/>
                  </a:cubicBezTo>
                  <a:close/>
                  <a:moveTo>
                    <a:pt x="151" y="707"/>
                  </a:moveTo>
                  <a:lnTo>
                    <a:pt x="133" y="734"/>
                  </a:lnTo>
                  <a:cubicBezTo>
                    <a:pt x="132" y="736"/>
                    <a:pt x="128" y="737"/>
                    <a:pt x="126" y="736"/>
                  </a:cubicBezTo>
                  <a:cubicBezTo>
                    <a:pt x="123" y="734"/>
                    <a:pt x="123" y="731"/>
                    <a:pt x="124" y="728"/>
                  </a:cubicBezTo>
                  <a:lnTo>
                    <a:pt x="142" y="701"/>
                  </a:lnTo>
                  <a:cubicBezTo>
                    <a:pt x="143" y="699"/>
                    <a:pt x="147" y="698"/>
                    <a:pt x="149" y="700"/>
                  </a:cubicBezTo>
                  <a:cubicBezTo>
                    <a:pt x="151" y="701"/>
                    <a:pt x="152" y="705"/>
                    <a:pt x="151" y="707"/>
                  </a:cubicBezTo>
                  <a:close/>
                  <a:moveTo>
                    <a:pt x="109" y="769"/>
                  </a:moveTo>
                  <a:lnTo>
                    <a:pt x="90" y="795"/>
                  </a:lnTo>
                  <a:cubicBezTo>
                    <a:pt x="88" y="797"/>
                    <a:pt x="85" y="798"/>
                    <a:pt x="82" y="796"/>
                  </a:cubicBezTo>
                  <a:cubicBezTo>
                    <a:pt x="80" y="794"/>
                    <a:pt x="80" y="791"/>
                    <a:pt x="81" y="789"/>
                  </a:cubicBezTo>
                  <a:lnTo>
                    <a:pt x="100" y="763"/>
                  </a:lnTo>
                  <a:cubicBezTo>
                    <a:pt x="102" y="760"/>
                    <a:pt x="105" y="760"/>
                    <a:pt x="107" y="762"/>
                  </a:cubicBezTo>
                  <a:cubicBezTo>
                    <a:pt x="110" y="763"/>
                    <a:pt x="110" y="767"/>
                    <a:pt x="109" y="769"/>
                  </a:cubicBezTo>
                  <a:close/>
                  <a:moveTo>
                    <a:pt x="64" y="829"/>
                  </a:moveTo>
                  <a:lnTo>
                    <a:pt x="45" y="854"/>
                  </a:lnTo>
                  <a:cubicBezTo>
                    <a:pt x="43" y="857"/>
                    <a:pt x="39" y="857"/>
                    <a:pt x="37" y="855"/>
                  </a:cubicBezTo>
                  <a:cubicBezTo>
                    <a:pt x="35" y="853"/>
                    <a:pt x="34" y="850"/>
                    <a:pt x="36" y="848"/>
                  </a:cubicBezTo>
                  <a:lnTo>
                    <a:pt x="56" y="823"/>
                  </a:lnTo>
                  <a:cubicBezTo>
                    <a:pt x="58" y="820"/>
                    <a:pt x="61" y="820"/>
                    <a:pt x="64" y="822"/>
                  </a:cubicBezTo>
                  <a:cubicBezTo>
                    <a:pt x="66" y="824"/>
                    <a:pt x="66" y="827"/>
                    <a:pt x="64" y="829"/>
                  </a:cubicBezTo>
                  <a:close/>
                  <a:moveTo>
                    <a:pt x="17" y="887"/>
                  </a:moveTo>
                  <a:lnTo>
                    <a:pt x="10" y="894"/>
                  </a:lnTo>
                  <a:cubicBezTo>
                    <a:pt x="8" y="896"/>
                    <a:pt x="5" y="896"/>
                    <a:pt x="3" y="895"/>
                  </a:cubicBezTo>
                  <a:cubicBezTo>
                    <a:pt x="1" y="893"/>
                    <a:pt x="0" y="889"/>
                    <a:pt x="2" y="887"/>
                  </a:cubicBezTo>
                  <a:lnTo>
                    <a:pt x="9" y="880"/>
                  </a:lnTo>
                  <a:cubicBezTo>
                    <a:pt x="11" y="878"/>
                    <a:pt x="14" y="877"/>
                    <a:pt x="16" y="879"/>
                  </a:cubicBezTo>
                  <a:cubicBezTo>
                    <a:pt x="18" y="881"/>
                    <a:pt x="19" y="885"/>
                    <a:pt x="17" y="887"/>
                  </a:cubicBezTo>
                  <a:close/>
                </a:path>
              </a:pathLst>
            </a:custGeom>
            <a:solidFill>
              <a:srgbClr val="000000"/>
            </a:solidFill>
            <a:ln w="0">
              <a:solidFill>
                <a:srgbClr val="000000"/>
              </a:solidFill>
              <a:round/>
              <a:headEnd/>
              <a:tailEnd/>
            </a:ln>
          </p:spPr>
          <p:txBody>
            <a:bodyPr/>
            <a:lstStyle/>
            <a:p>
              <a:endParaRPr lang="en-US"/>
            </a:p>
          </p:txBody>
        </p:sp>
        <p:sp>
          <p:nvSpPr>
            <p:cNvPr id="42091" name="Freeform 87"/>
            <p:cNvSpPr>
              <a:spLocks noEditPoints="1"/>
            </p:cNvSpPr>
            <p:nvPr/>
          </p:nvSpPr>
          <p:spPr bwMode="auto">
            <a:xfrm>
              <a:off x="2659" y="1394"/>
              <a:ext cx="98" cy="255"/>
            </a:xfrm>
            <a:custGeom>
              <a:avLst/>
              <a:gdLst>
                <a:gd name="T0" fmla="*/ 85 w 98"/>
                <a:gd name="T1" fmla="*/ 14 h 255"/>
                <a:gd name="T2" fmla="*/ 81 w 98"/>
                <a:gd name="T3" fmla="*/ 4 h 255"/>
                <a:gd name="T4" fmla="*/ 85 w 98"/>
                <a:gd name="T5" fmla="*/ 12 h 255"/>
                <a:gd name="T6" fmla="*/ 94 w 98"/>
                <a:gd name="T7" fmla="*/ 21 h 255"/>
                <a:gd name="T8" fmla="*/ 90 w 98"/>
                <a:gd name="T9" fmla="*/ 33 h 255"/>
                <a:gd name="T10" fmla="*/ 91 w 98"/>
                <a:gd name="T11" fmla="*/ 19 h 255"/>
                <a:gd name="T12" fmla="*/ 93 w 98"/>
                <a:gd name="T13" fmla="*/ 29 h 255"/>
                <a:gd name="T14" fmla="*/ 92 w 98"/>
                <a:gd name="T15" fmla="*/ 29 h 255"/>
                <a:gd name="T16" fmla="*/ 98 w 98"/>
                <a:gd name="T17" fmla="*/ 52 h 255"/>
                <a:gd name="T18" fmla="*/ 91 w 98"/>
                <a:gd name="T19" fmla="*/ 41 h 255"/>
                <a:gd name="T20" fmla="*/ 95 w 98"/>
                <a:gd name="T21" fmla="*/ 43 h 255"/>
                <a:gd name="T22" fmla="*/ 93 w 98"/>
                <a:gd name="T23" fmla="*/ 43 h 255"/>
                <a:gd name="T24" fmla="*/ 97 w 98"/>
                <a:gd name="T25" fmla="*/ 73 h 255"/>
                <a:gd name="T26" fmla="*/ 90 w 98"/>
                <a:gd name="T27" fmla="*/ 64 h 255"/>
                <a:gd name="T28" fmla="*/ 95 w 98"/>
                <a:gd name="T29" fmla="*/ 64 h 255"/>
                <a:gd name="T30" fmla="*/ 95 w 98"/>
                <a:gd name="T31" fmla="*/ 72 h 255"/>
                <a:gd name="T32" fmla="*/ 94 w 98"/>
                <a:gd name="T33" fmla="*/ 65 h 255"/>
                <a:gd name="T34" fmla="*/ 92 w 98"/>
                <a:gd name="T35" fmla="*/ 95 h 255"/>
                <a:gd name="T36" fmla="*/ 87 w 98"/>
                <a:gd name="T37" fmla="*/ 84 h 255"/>
                <a:gd name="T38" fmla="*/ 90 w 98"/>
                <a:gd name="T39" fmla="*/ 86 h 255"/>
                <a:gd name="T40" fmla="*/ 88 w 98"/>
                <a:gd name="T41" fmla="*/ 93 h 255"/>
                <a:gd name="T42" fmla="*/ 90 w 98"/>
                <a:gd name="T43" fmla="*/ 84 h 255"/>
                <a:gd name="T44" fmla="*/ 80 w 98"/>
                <a:gd name="T45" fmla="*/ 114 h 255"/>
                <a:gd name="T46" fmla="*/ 85 w 98"/>
                <a:gd name="T47" fmla="*/ 104 h 255"/>
                <a:gd name="T48" fmla="*/ 82 w 98"/>
                <a:gd name="T49" fmla="*/ 113 h 255"/>
                <a:gd name="T50" fmla="*/ 83 w 98"/>
                <a:gd name="T51" fmla="*/ 126 h 255"/>
                <a:gd name="T52" fmla="*/ 76 w 98"/>
                <a:gd name="T53" fmla="*/ 123 h 255"/>
                <a:gd name="T54" fmla="*/ 79 w 98"/>
                <a:gd name="T55" fmla="*/ 126 h 255"/>
                <a:gd name="T56" fmla="*/ 76 w 98"/>
                <a:gd name="T57" fmla="*/ 133 h 255"/>
                <a:gd name="T58" fmla="*/ 74 w 98"/>
                <a:gd name="T59" fmla="*/ 150 h 255"/>
                <a:gd name="T60" fmla="*/ 67 w 98"/>
                <a:gd name="T61" fmla="*/ 147 h 255"/>
                <a:gd name="T62" fmla="*/ 70 w 98"/>
                <a:gd name="T63" fmla="*/ 144 h 255"/>
                <a:gd name="T64" fmla="*/ 69 w 98"/>
                <a:gd name="T65" fmla="*/ 151 h 255"/>
                <a:gd name="T66" fmla="*/ 71 w 98"/>
                <a:gd name="T67" fmla="*/ 144 h 255"/>
                <a:gd name="T68" fmla="*/ 63 w 98"/>
                <a:gd name="T69" fmla="*/ 173 h 255"/>
                <a:gd name="T70" fmla="*/ 59 w 98"/>
                <a:gd name="T71" fmla="*/ 163 h 255"/>
                <a:gd name="T72" fmla="*/ 65 w 98"/>
                <a:gd name="T73" fmla="*/ 164 h 255"/>
                <a:gd name="T74" fmla="*/ 61 w 98"/>
                <a:gd name="T75" fmla="*/ 171 h 255"/>
                <a:gd name="T76" fmla="*/ 63 w 98"/>
                <a:gd name="T77" fmla="*/ 165 h 255"/>
                <a:gd name="T78" fmla="*/ 46 w 98"/>
                <a:gd name="T79" fmla="*/ 191 h 255"/>
                <a:gd name="T80" fmla="*/ 57 w 98"/>
                <a:gd name="T81" fmla="*/ 182 h 255"/>
                <a:gd name="T82" fmla="*/ 50 w 98"/>
                <a:gd name="T83" fmla="*/ 190 h 255"/>
                <a:gd name="T84" fmla="*/ 46 w 98"/>
                <a:gd name="T85" fmla="*/ 200 h 255"/>
                <a:gd name="T86" fmla="*/ 34 w 98"/>
                <a:gd name="T87" fmla="*/ 205 h 255"/>
                <a:gd name="T88" fmla="*/ 44 w 98"/>
                <a:gd name="T89" fmla="*/ 200 h 255"/>
                <a:gd name="T90" fmla="*/ 38 w 98"/>
                <a:gd name="T91" fmla="*/ 206 h 255"/>
                <a:gd name="T92" fmla="*/ 29 w 98"/>
                <a:gd name="T93" fmla="*/ 226 h 255"/>
                <a:gd name="T94" fmla="*/ 29 w 98"/>
                <a:gd name="T95" fmla="*/ 214 h 255"/>
                <a:gd name="T96" fmla="*/ 31 w 98"/>
                <a:gd name="T97" fmla="*/ 217 h 255"/>
                <a:gd name="T98" fmla="*/ 30 w 98"/>
                <a:gd name="T99" fmla="*/ 216 h 255"/>
                <a:gd name="T100" fmla="*/ 12 w 98"/>
                <a:gd name="T101" fmla="*/ 244 h 255"/>
                <a:gd name="T102" fmla="*/ 21 w 98"/>
                <a:gd name="T103" fmla="*/ 232 h 255"/>
                <a:gd name="T104" fmla="*/ 14 w 98"/>
                <a:gd name="T105" fmla="*/ 240 h 255"/>
                <a:gd name="T106" fmla="*/ 17 w 98"/>
                <a:gd name="T107" fmla="*/ 232 h 255"/>
                <a:gd name="T108" fmla="*/ 0 w 98"/>
                <a:gd name="T109" fmla="*/ 251 h 255"/>
                <a:gd name="T110" fmla="*/ 4 w 98"/>
                <a:gd name="T111" fmla="*/ 249 h 255"/>
                <a:gd name="T112" fmla="*/ 2 w 98"/>
                <a:gd name="T113" fmla="*/ 251 h 25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8"/>
                <a:gd name="T172" fmla="*/ 0 h 255"/>
                <a:gd name="T173" fmla="*/ 98 w 98"/>
                <a:gd name="T174" fmla="*/ 255 h 25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8" h="255">
                  <a:moveTo>
                    <a:pt x="84" y="0"/>
                  </a:moveTo>
                  <a:lnTo>
                    <a:pt x="85" y="1"/>
                  </a:lnTo>
                  <a:lnTo>
                    <a:pt x="90" y="9"/>
                  </a:lnTo>
                  <a:lnTo>
                    <a:pt x="90" y="11"/>
                  </a:lnTo>
                  <a:lnTo>
                    <a:pt x="89" y="13"/>
                  </a:lnTo>
                  <a:lnTo>
                    <a:pt x="86" y="14"/>
                  </a:lnTo>
                  <a:lnTo>
                    <a:pt x="85" y="14"/>
                  </a:lnTo>
                  <a:lnTo>
                    <a:pt x="83" y="13"/>
                  </a:lnTo>
                  <a:lnTo>
                    <a:pt x="79" y="5"/>
                  </a:lnTo>
                  <a:lnTo>
                    <a:pt x="79" y="3"/>
                  </a:lnTo>
                  <a:lnTo>
                    <a:pt x="79" y="1"/>
                  </a:lnTo>
                  <a:lnTo>
                    <a:pt x="82" y="0"/>
                  </a:lnTo>
                  <a:lnTo>
                    <a:pt x="84" y="0"/>
                  </a:lnTo>
                  <a:close/>
                  <a:moveTo>
                    <a:pt x="81" y="4"/>
                  </a:moveTo>
                  <a:lnTo>
                    <a:pt x="83" y="3"/>
                  </a:lnTo>
                  <a:lnTo>
                    <a:pt x="83" y="5"/>
                  </a:lnTo>
                  <a:lnTo>
                    <a:pt x="83" y="3"/>
                  </a:lnTo>
                  <a:lnTo>
                    <a:pt x="87" y="11"/>
                  </a:lnTo>
                  <a:lnTo>
                    <a:pt x="86" y="10"/>
                  </a:lnTo>
                  <a:lnTo>
                    <a:pt x="88" y="10"/>
                  </a:lnTo>
                  <a:lnTo>
                    <a:pt x="85" y="12"/>
                  </a:lnTo>
                  <a:lnTo>
                    <a:pt x="86" y="10"/>
                  </a:lnTo>
                  <a:lnTo>
                    <a:pt x="86" y="11"/>
                  </a:lnTo>
                  <a:lnTo>
                    <a:pt x="81" y="4"/>
                  </a:lnTo>
                  <a:lnTo>
                    <a:pt x="83" y="5"/>
                  </a:lnTo>
                  <a:lnTo>
                    <a:pt x="81" y="4"/>
                  </a:lnTo>
                  <a:close/>
                  <a:moveTo>
                    <a:pt x="93" y="20"/>
                  </a:moveTo>
                  <a:lnTo>
                    <a:pt x="94" y="21"/>
                  </a:lnTo>
                  <a:lnTo>
                    <a:pt x="96" y="29"/>
                  </a:lnTo>
                  <a:lnTo>
                    <a:pt x="96" y="30"/>
                  </a:lnTo>
                  <a:lnTo>
                    <a:pt x="96" y="32"/>
                  </a:lnTo>
                  <a:lnTo>
                    <a:pt x="95" y="34"/>
                  </a:lnTo>
                  <a:lnTo>
                    <a:pt x="92" y="34"/>
                  </a:lnTo>
                  <a:lnTo>
                    <a:pt x="90" y="33"/>
                  </a:lnTo>
                  <a:lnTo>
                    <a:pt x="89" y="32"/>
                  </a:lnTo>
                  <a:lnTo>
                    <a:pt x="89" y="31"/>
                  </a:lnTo>
                  <a:lnTo>
                    <a:pt x="89" y="30"/>
                  </a:lnTo>
                  <a:lnTo>
                    <a:pt x="87" y="23"/>
                  </a:lnTo>
                  <a:lnTo>
                    <a:pt x="87" y="21"/>
                  </a:lnTo>
                  <a:lnTo>
                    <a:pt x="88" y="20"/>
                  </a:lnTo>
                  <a:lnTo>
                    <a:pt x="91" y="19"/>
                  </a:lnTo>
                  <a:lnTo>
                    <a:pt x="93" y="20"/>
                  </a:lnTo>
                  <a:close/>
                  <a:moveTo>
                    <a:pt x="89" y="23"/>
                  </a:moveTo>
                  <a:lnTo>
                    <a:pt x="92" y="22"/>
                  </a:lnTo>
                  <a:lnTo>
                    <a:pt x="91" y="24"/>
                  </a:lnTo>
                  <a:lnTo>
                    <a:pt x="91" y="22"/>
                  </a:lnTo>
                  <a:lnTo>
                    <a:pt x="93" y="29"/>
                  </a:lnTo>
                  <a:lnTo>
                    <a:pt x="94" y="30"/>
                  </a:lnTo>
                  <a:lnTo>
                    <a:pt x="93" y="29"/>
                  </a:lnTo>
                  <a:lnTo>
                    <a:pt x="95" y="30"/>
                  </a:lnTo>
                  <a:lnTo>
                    <a:pt x="91" y="31"/>
                  </a:lnTo>
                  <a:lnTo>
                    <a:pt x="92" y="29"/>
                  </a:lnTo>
                  <a:lnTo>
                    <a:pt x="92" y="30"/>
                  </a:lnTo>
                  <a:lnTo>
                    <a:pt x="92" y="29"/>
                  </a:lnTo>
                  <a:lnTo>
                    <a:pt x="92" y="30"/>
                  </a:lnTo>
                  <a:lnTo>
                    <a:pt x="90" y="22"/>
                  </a:lnTo>
                  <a:lnTo>
                    <a:pt x="91" y="24"/>
                  </a:lnTo>
                  <a:lnTo>
                    <a:pt x="89" y="23"/>
                  </a:lnTo>
                  <a:close/>
                  <a:moveTo>
                    <a:pt x="97" y="41"/>
                  </a:moveTo>
                  <a:lnTo>
                    <a:pt x="98" y="43"/>
                  </a:lnTo>
                  <a:lnTo>
                    <a:pt x="98" y="52"/>
                  </a:lnTo>
                  <a:lnTo>
                    <a:pt x="97" y="53"/>
                  </a:lnTo>
                  <a:lnTo>
                    <a:pt x="96" y="55"/>
                  </a:lnTo>
                  <a:lnTo>
                    <a:pt x="93" y="55"/>
                  </a:lnTo>
                  <a:lnTo>
                    <a:pt x="92" y="53"/>
                  </a:lnTo>
                  <a:lnTo>
                    <a:pt x="91" y="52"/>
                  </a:lnTo>
                  <a:lnTo>
                    <a:pt x="90" y="43"/>
                  </a:lnTo>
                  <a:lnTo>
                    <a:pt x="91" y="41"/>
                  </a:lnTo>
                  <a:lnTo>
                    <a:pt x="93" y="39"/>
                  </a:lnTo>
                  <a:lnTo>
                    <a:pt x="96" y="40"/>
                  </a:lnTo>
                  <a:lnTo>
                    <a:pt x="97" y="41"/>
                  </a:lnTo>
                  <a:close/>
                  <a:moveTo>
                    <a:pt x="93" y="43"/>
                  </a:moveTo>
                  <a:lnTo>
                    <a:pt x="96" y="43"/>
                  </a:lnTo>
                  <a:lnTo>
                    <a:pt x="94" y="45"/>
                  </a:lnTo>
                  <a:lnTo>
                    <a:pt x="95" y="43"/>
                  </a:lnTo>
                  <a:lnTo>
                    <a:pt x="95" y="52"/>
                  </a:lnTo>
                  <a:lnTo>
                    <a:pt x="95" y="50"/>
                  </a:lnTo>
                  <a:lnTo>
                    <a:pt x="96" y="52"/>
                  </a:lnTo>
                  <a:lnTo>
                    <a:pt x="93" y="52"/>
                  </a:lnTo>
                  <a:lnTo>
                    <a:pt x="94" y="50"/>
                  </a:lnTo>
                  <a:lnTo>
                    <a:pt x="94" y="52"/>
                  </a:lnTo>
                  <a:lnTo>
                    <a:pt x="93" y="43"/>
                  </a:lnTo>
                  <a:lnTo>
                    <a:pt x="94" y="44"/>
                  </a:lnTo>
                  <a:lnTo>
                    <a:pt x="93" y="43"/>
                  </a:lnTo>
                  <a:close/>
                  <a:moveTo>
                    <a:pt x="97" y="62"/>
                  </a:moveTo>
                  <a:lnTo>
                    <a:pt x="97" y="63"/>
                  </a:lnTo>
                  <a:lnTo>
                    <a:pt x="97" y="64"/>
                  </a:lnTo>
                  <a:lnTo>
                    <a:pt x="97" y="65"/>
                  </a:lnTo>
                  <a:lnTo>
                    <a:pt x="97" y="73"/>
                  </a:lnTo>
                  <a:lnTo>
                    <a:pt x="96" y="75"/>
                  </a:lnTo>
                  <a:lnTo>
                    <a:pt x="94" y="76"/>
                  </a:lnTo>
                  <a:lnTo>
                    <a:pt x="91" y="76"/>
                  </a:lnTo>
                  <a:lnTo>
                    <a:pt x="90" y="74"/>
                  </a:lnTo>
                  <a:lnTo>
                    <a:pt x="89" y="72"/>
                  </a:lnTo>
                  <a:lnTo>
                    <a:pt x="90" y="64"/>
                  </a:lnTo>
                  <a:lnTo>
                    <a:pt x="90" y="63"/>
                  </a:lnTo>
                  <a:lnTo>
                    <a:pt x="91" y="62"/>
                  </a:lnTo>
                  <a:lnTo>
                    <a:pt x="92" y="61"/>
                  </a:lnTo>
                  <a:lnTo>
                    <a:pt x="95" y="61"/>
                  </a:lnTo>
                  <a:lnTo>
                    <a:pt x="97" y="62"/>
                  </a:lnTo>
                  <a:close/>
                  <a:moveTo>
                    <a:pt x="92" y="64"/>
                  </a:moveTo>
                  <a:lnTo>
                    <a:pt x="95" y="64"/>
                  </a:lnTo>
                  <a:lnTo>
                    <a:pt x="94" y="65"/>
                  </a:lnTo>
                  <a:lnTo>
                    <a:pt x="95" y="64"/>
                  </a:lnTo>
                  <a:lnTo>
                    <a:pt x="94" y="65"/>
                  </a:lnTo>
                  <a:lnTo>
                    <a:pt x="94" y="72"/>
                  </a:lnTo>
                  <a:lnTo>
                    <a:pt x="93" y="71"/>
                  </a:lnTo>
                  <a:lnTo>
                    <a:pt x="95" y="72"/>
                  </a:lnTo>
                  <a:lnTo>
                    <a:pt x="92" y="72"/>
                  </a:lnTo>
                  <a:lnTo>
                    <a:pt x="93" y="71"/>
                  </a:lnTo>
                  <a:lnTo>
                    <a:pt x="92" y="73"/>
                  </a:lnTo>
                  <a:lnTo>
                    <a:pt x="93" y="64"/>
                  </a:lnTo>
                  <a:lnTo>
                    <a:pt x="93" y="63"/>
                  </a:lnTo>
                  <a:lnTo>
                    <a:pt x="94" y="65"/>
                  </a:lnTo>
                  <a:lnTo>
                    <a:pt x="92" y="64"/>
                  </a:lnTo>
                  <a:close/>
                  <a:moveTo>
                    <a:pt x="94" y="83"/>
                  </a:moveTo>
                  <a:lnTo>
                    <a:pt x="95" y="85"/>
                  </a:lnTo>
                  <a:lnTo>
                    <a:pt x="93" y="92"/>
                  </a:lnTo>
                  <a:lnTo>
                    <a:pt x="93" y="94"/>
                  </a:lnTo>
                  <a:lnTo>
                    <a:pt x="92" y="95"/>
                  </a:lnTo>
                  <a:lnTo>
                    <a:pt x="90" y="96"/>
                  </a:lnTo>
                  <a:lnTo>
                    <a:pt x="87" y="96"/>
                  </a:lnTo>
                  <a:lnTo>
                    <a:pt x="86" y="94"/>
                  </a:lnTo>
                  <a:lnTo>
                    <a:pt x="86" y="92"/>
                  </a:lnTo>
                  <a:lnTo>
                    <a:pt x="86" y="90"/>
                  </a:lnTo>
                  <a:lnTo>
                    <a:pt x="87" y="84"/>
                  </a:lnTo>
                  <a:lnTo>
                    <a:pt x="88" y="82"/>
                  </a:lnTo>
                  <a:lnTo>
                    <a:pt x="90" y="81"/>
                  </a:lnTo>
                  <a:lnTo>
                    <a:pt x="93" y="82"/>
                  </a:lnTo>
                  <a:lnTo>
                    <a:pt x="94" y="83"/>
                  </a:lnTo>
                  <a:close/>
                  <a:moveTo>
                    <a:pt x="90" y="84"/>
                  </a:moveTo>
                  <a:lnTo>
                    <a:pt x="92" y="85"/>
                  </a:lnTo>
                  <a:lnTo>
                    <a:pt x="90" y="86"/>
                  </a:lnTo>
                  <a:lnTo>
                    <a:pt x="92" y="85"/>
                  </a:lnTo>
                  <a:lnTo>
                    <a:pt x="90" y="91"/>
                  </a:lnTo>
                  <a:lnTo>
                    <a:pt x="90" y="93"/>
                  </a:lnTo>
                  <a:lnTo>
                    <a:pt x="90" y="92"/>
                  </a:lnTo>
                  <a:lnTo>
                    <a:pt x="91" y="93"/>
                  </a:lnTo>
                  <a:lnTo>
                    <a:pt x="88" y="93"/>
                  </a:lnTo>
                  <a:lnTo>
                    <a:pt x="89" y="92"/>
                  </a:lnTo>
                  <a:lnTo>
                    <a:pt x="88" y="93"/>
                  </a:lnTo>
                  <a:lnTo>
                    <a:pt x="89" y="91"/>
                  </a:lnTo>
                  <a:lnTo>
                    <a:pt x="90" y="84"/>
                  </a:lnTo>
                  <a:lnTo>
                    <a:pt x="91" y="86"/>
                  </a:lnTo>
                  <a:lnTo>
                    <a:pt x="90" y="84"/>
                  </a:lnTo>
                  <a:close/>
                  <a:moveTo>
                    <a:pt x="90" y="104"/>
                  </a:moveTo>
                  <a:lnTo>
                    <a:pt x="90" y="106"/>
                  </a:lnTo>
                  <a:lnTo>
                    <a:pt x="87" y="114"/>
                  </a:lnTo>
                  <a:lnTo>
                    <a:pt x="86" y="115"/>
                  </a:lnTo>
                  <a:lnTo>
                    <a:pt x="85" y="117"/>
                  </a:lnTo>
                  <a:lnTo>
                    <a:pt x="81" y="116"/>
                  </a:lnTo>
                  <a:lnTo>
                    <a:pt x="80" y="114"/>
                  </a:lnTo>
                  <a:lnTo>
                    <a:pt x="80" y="112"/>
                  </a:lnTo>
                  <a:lnTo>
                    <a:pt x="83" y="104"/>
                  </a:lnTo>
                  <a:lnTo>
                    <a:pt x="83" y="103"/>
                  </a:lnTo>
                  <a:lnTo>
                    <a:pt x="85" y="101"/>
                  </a:lnTo>
                  <a:lnTo>
                    <a:pt x="88" y="102"/>
                  </a:lnTo>
                  <a:lnTo>
                    <a:pt x="90" y="104"/>
                  </a:lnTo>
                  <a:close/>
                  <a:moveTo>
                    <a:pt x="85" y="104"/>
                  </a:moveTo>
                  <a:lnTo>
                    <a:pt x="88" y="105"/>
                  </a:lnTo>
                  <a:lnTo>
                    <a:pt x="86" y="106"/>
                  </a:lnTo>
                  <a:lnTo>
                    <a:pt x="87" y="105"/>
                  </a:lnTo>
                  <a:lnTo>
                    <a:pt x="84" y="113"/>
                  </a:lnTo>
                  <a:lnTo>
                    <a:pt x="84" y="112"/>
                  </a:lnTo>
                  <a:lnTo>
                    <a:pt x="85" y="113"/>
                  </a:lnTo>
                  <a:lnTo>
                    <a:pt x="82" y="113"/>
                  </a:lnTo>
                  <a:lnTo>
                    <a:pt x="84" y="112"/>
                  </a:lnTo>
                  <a:lnTo>
                    <a:pt x="83" y="113"/>
                  </a:lnTo>
                  <a:lnTo>
                    <a:pt x="86" y="104"/>
                  </a:lnTo>
                  <a:lnTo>
                    <a:pt x="86" y="106"/>
                  </a:lnTo>
                  <a:lnTo>
                    <a:pt x="85" y="104"/>
                  </a:lnTo>
                  <a:close/>
                  <a:moveTo>
                    <a:pt x="83" y="124"/>
                  </a:moveTo>
                  <a:lnTo>
                    <a:pt x="83" y="126"/>
                  </a:lnTo>
                  <a:lnTo>
                    <a:pt x="80" y="134"/>
                  </a:lnTo>
                  <a:lnTo>
                    <a:pt x="79" y="136"/>
                  </a:lnTo>
                  <a:lnTo>
                    <a:pt x="77" y="137"/>
                  </a:lnTo>
                  <a:lnTo>
                    <a:pt x="74" y="135"/>
                  </a:lnTo>
                  <a:lnTo>
                    <a:pt x="73" y="133"/>
                  </a:lnTo>
                  <a:lnTo>
                    <a:pt x="73" y="131"/>
                  </a:lnTo>
                  <a:lnTo>
                    <a:pt x="76" y="123"/>
                  </a:lnTo>
                  <a:lnTo>
                    <a:pt x="77" y="122"/>
                  </a:lnTo>
                  <a:lnTo>
                    <a:pt x="79" y="121"/>
                  </a:lnTo>
                  <a:lnTo>
                    <a:pt x="82" y="122"/>
                  </a:lnTo>
                  <a:lnTo>
                    <a:pt x="83" y="124"/>
                  </a:lnTo>
                  <a:close/>
                  <a:moveTo>
                    <a:pt x="78" y="124"/>
                  </a:moveTo>
                  <a:lnTo>
                    <a:pt x="81" y="125"/>
                  </a:lnTo>
                  <a:lnTo>
                    <a:pt x="79" y="126"/>
                  </a:lnTo>
                  <a:lnTo>
                    <a:pt x="81" y="125"/>
                  </a:lnTo>
                  <a:lnTo>
                    <a:pt x="77" y="133"/>
                  </a:lnTo>
                  <a:lnTo>
                    <a:pt x="77" y="131"/>
                  </a:lnTo>
                  <a:lnTo>
                    <a:pt x="78" y="133"/>
                  </a:lnTo>
                  <a:lnTo>
                    <a:pt x="75" y="132"/>
                  </a:lnTo>
                  <a:lnTo>
                    <a:pt x="77" y="131"/>
                  </a:lnTo>
                  <a:lnTo>
                    <a:pt x="76" y="133"/>
                  </a:lnTo>
                  <a:lnTo>
                    <a:pt x="79" y="124"/>
                  </a:lnTo>
                  <a:lnTo>
                    <a:pt x="79" y="126"/>
                  </a:lnTo>
                  <a:lnTo>
                    <a:pt x="78" y="124"/>
                  </a:lnTo>
                  <a:close/>
                  <a:moveTo>
                    <a:pt x="76" y="144"/>
                  </a:moveTo>
                  <a:lnTo>
                    <a:pt x="76" y="146"/>
                  </a:lnTo>
                  <a:lnTo>
                    <a:pt x="74" y="150"/>
                  </a:lnTo>
                  <a:lnTo>
                    <a:pt x="72" y="154"/>
                  </a:lnTo>
                  <a:lnTo>
                    <a:pt x="70" y="155"/>
                  </a:lnTo>
                  <a:lnTo>
                    <a:pt x="68" y="156"/>
                  </a:lnTo>
                  <a:lnTo>
                    <a:pt x="66" y="155"/>
                  </a:lnTo>
                  <a:lnTo>
                    <a:pt x="65" y="153"/>
                  </a:lnTo>
                  <a:lnTo>
                    <a:pt x="65" y="151"/>
                  </a:lnTo>
                  <a:lnTo>
                    <a:pt x="67" y="147"/>
                  </a:lnTo>
                  <a:lnTo>
                    <a:pt x="68" y="142"/>
                  </a:lnTo>
                  <a:lnTo>
                    <a:pt x="70" y="141"/>
                  </a:lnTo>
                  <a:lnTo>
                    <a:pt x="72" y="140"/>
                  </a:lnTo>
                  <a:lnTo>
                    <a:pt x="75" y="142"/>
                  </a:lnTo>
                  <a:lnTo>
                    <a:pt x="76" y="144"/>
                  </a:lnTo>
                  <a:close/>
                  <a:moveTo>
                    <a:pt x="70" y="144"/>
                  </a:moveTo>
                  <a:lnTo>
                    <a:pt x="74" y="145"/>
                  </a:lnTo>
                  <a:lnTo>
                    <a:pt x="72" y="146"/>
                  </a:lnTo>
                  <a:lnTo>
                    <a:pt x="73" y="144"/>
                  </a:lnTo>
                  <a:lnTo>
                    <a:pt x="71" y="149"/>
                  </a:lnTo>
                  <a:lnTo>
                    <a:pt x="69" y="153"/>
                  </a:lnTo>
                  <a:lnTo>
                    <a:pt x="69" y="151"/>
                  </a:lnTo>
                  <a:lnTo>
                    <a:pt x="70" y="153"/>
                  </a:lnTo>
                  <a:lnTo>
                    <a:pt x="67" y="151"/>
                  </a:lnTo>
                  <a:lnTo>
                    <a:pt x="69" y="151"/>
                  </a:lnTo>
                  <a:lnTo>
                    <a:pt x="68" y="152"/>
                  </a:lnTo>
                  <a:lnTo>
                    <a:pt x="69" y="148"/>
                  </a:lnTo>
                  <a:lnTo>
                    <a:pt x="71" y="144"/>
                  </a:lnTo>
                  <a:lnTo>
                    <a:pt x="71" y="146"/>
                  </a:lnTo>
                  <a:lnTo>
                    <a:pt x="70" y="144"/>
                  </a:lnTo>
                  <a:close/>
                  <a:moveTo>
                    <a:pt x="67" y="163"/>
                  </a:moveTo>
                  <a:lnTo>
                    <a:pt x="67" y="165"/>
                  </a:lnTo>
                  <a:lnTo>
                    <a:pt x="66" y="166"/>
                  </a:lnTo>
                  <a:lnTo>
                    <a:pt x="63" y="173"/>
                  </a:lnTo>
                  <a:lnTo>
                    <a:pt x="61" y="174"/>
                  </a:lnTo>
                  <a:lnTo>
                    <a:pt x="59" y="175"/>
                  </a:lnTo>
                  <a:lnTo>
                    <a:pt x="56" y="173"/>
                  </a:lnTo>
                  <a:lnTo>
                    <a:pt x="56" y="171"/>
                  </a:lnTo>
                  <a:lnTo>
                    <a:pt x="56" y="169"/>
                  </a:lnTo>
                  <a:lnTo>
                    <a:pt x="59" y="162"/>
                  </a:lnTo>
                  <a:lnTo>
                    <a:pt x="59" y="163"/>
                  </a:lnTo>
                  <a:lnTo>
                    <a:pt x="60" y="162"/>
                  </a:lnTo>
                  <a:lnTo>
                    <a:pt x="61" y="160"/>
                  </a:lnTo>
                  <a:lnTo>
                    <a:pt x="63" y="160"/>
                  </a:lnTo>
                  <a:lnTo>
                    <a:pt x="66" y="161"/>
                  </a:lnTo>
                  <a:lnTo>
                    <a:pt x="67" y="163"/>
                  </a:lnTo>
                  <a:close/>
                  <a:moveTo>
                    <a:pt x="62" y="163"/>
                  </a:moveTo>
                  <a:lnTo>
                    <a:pt x="65" y="164"/>
                  </a:lnTo>
                  <a:lnTo>
                    <a:pt x="63" y="165"/>
                  </a:lnTo>
                  <a:lnTo>
                    <a:pt x="64" y="163"/>
                  </a:lnTo>
                  <a:lnTo>
                    <a:pt x="64" y="164"/>
                  </a:lnTo>
                  <a:lnTo>
                    <a:pt x="63" y="164"/>
                  </a:lnTo>
                  <a:lnTo>
                    <a:pt x="59" y="171"/>
                  </a:lnTo>
                  <a:lnTo>
                    <a:pt x="60" y="169"/>
                  </a:lnTo>
                  <a:lnTo>
                    <a:pt x="61" y="171"/>
                  </a:lnTo>
                  <a:lnTo>
                    <a:pt x="58" y="170"/>
                  </a:lnTo>
                  <a:lnTo>
                    <a:pt x="60" y="170"/>
                  </a:lnTo>
                  <a:lnTo>
                    <a:pt x="58" y="171"/>
                  </a:lnTo>
                  <a:lnTo>
                    <a:pt x="62" y="164"/>
                  </a:lnTo>
                  <a:lnTo>
                    <a:pt x="62" y="163"/>
                  </a:lnTo>
                  <a:lnTo>
                    <a:pt x="63" y="162"/>
                  </a:lnTo>
                  <a:lnTo>
                    <a:pt x="63" y="165"/>
                  </a:lnTo>
                  <a:lnTo>
                    <a:pt x="62" y="163"/>
                  </a:lnTo>
                  <a:close/>
                  <a:moveTo>
                    <a:pt x="57" y="182"/>
                  </a:moveTo>
                  <a:lnTo>
                    <a:pt x="56" y="183"/>
                  </a:lnTo>
                  <a:lnTo>
                    <a:pt x="52" y="191"/>
                  </a:lnTo>
                  <a:lnTo>
                    <a:pt x="50" y="192"/>
                  </a:lnTo>
                  <a:lnTo>
                    <a:pt x="49" y="193"/>
                  </a:lnTo>
                  <a:lnTo>
                    <a:pt x="46" y="191"/>
                  </a:lnTo>
                  <a:lnTo>
                    <a:pt x="45" y="189"/>
                  </a:lnTo>
                  <a:lnTo>
                    <a:pt x="46" y="187"/>
                  </a:lnTo>
                  <a:lnTo>
                    <a:pt x="50" y="180"/>
                  </a:lnTo>
                  <a:lnTo>
                    <a:pt x="51" y="179"/>
                  </a:lnTo>
                  <a:lnTo>
                    <a:pt x="53" y="178"/>
                  </a:lnTo>
                  <a:lnTo>
                    <a:pt x="56" y="180"/>
                  </a:lnTo>
                  <a:lnTo>
                    <a:pt x="57" y="182"/>
                  </a:lnTo>
                  <a:close/>
                  <a:moveTo>
                    <a:pt x="52" y="181"/>
                  </a:moveTo>
                  <a:lnTo>
                    <a:pt x="55" y="182"/>
                  </a:lnTo>
                  <a:lnTo>
                    <a:pt x="53" y="183"/>
                  </a:lnTo>
                  <a:lnTo>
                    <a:pt x="54" y="182"/>
                  </a:lnTo>
                  <a:lnTo>
                    <a:pt x="49" y="190"/>
                  </a:lnTo>
                  <a:lnTo>
                    <a:pt x="50" y="188"/>
                  </a:lnTo>
                  <a:lnTo>
                    <a:pt x="50" y="190"/>
                  </a:lnTo>
                  <a:lnTo>
                    <a:pt x="48" y="188"/>
                  </a:lnTo>
                  <a:lnTo>
                    <a:pt x="50" y="188"/>
                  </a:lnTo>
                  <a:lnTo>
                    <a:pt x="48" y="189"/>
                  </a:lnTo>
                  <a:lnTo>
                    <a:pt x="53" y="181"/>
                  </a:lnTo>
                  <a:lnTo>
                    <a:pt x="52" y="183"/>
                  </a:lnTo>
                  <a:lnTo>
                    <a:pt x="52" y="181"/>
                  </a:lnTo>
                  <a:close/>
                  <a:moveTo>
                    <a:pt x="46" y="200"/>
                  </a:moveTo>
                  <a:lnTo>
                    <a:pt x="46" y="202"/>
                  </a:lnTo>
                  <a:lnTo>
                    <a:pt x="41" y="209"/>
                  </a:lnTo>
                  <a:lnTo>
                    <a:pt x="39" y="210"/>
                  </a:lnTo>
                  <a:lnTo>
                    <a:pt x="38" y="211"/>
                  </a:lnTo>
                  <a:lnTo>
                    <a:pt x="35" y="209"/>
                  </a:lnTo>
                  <a:lnTo>
                    <a:pt x="34" y="207"/>
                  </a:lnTo>
                  <a:lnTo>
                    <a:pt x="34" y="205"/>
                  </a:lnTo>
                  <a:lnTo>
                    <a:pt x="39" y="197"/>
                  </a:lnTo>
                  <a:lnTo>
                    <a:pt x="41" y="196"/>
                  </a:lnTo>
                  <a:lnTo>
                    <a:pt x="43" y="196"/>
                  </a:lnTo>
                  <a:lnTo>
                    <a:pt x="45" y="198"/>
                  </a:lnTo>
                  <a:lnTo>
                    <a:pt x="46" y="200"/>
                  </a:lnTo>
                  <a:close/>
                  <a:moveTo>
                    <a:pt x="41" y="199"/>
                  </a:moveTo>
                  <a:lnTo>
                    <a:pt x="44" y="200"/>
                  </a:lnTo>
                  <a:lnTo>
                    <a:pt x="42" y="201"/>
                  </a:lnTo>
                  <a:lnTo>
                    <a:pt x="43" y="200"/>
                  </a:lnTo>
                  <a:lnTo>
                    <a:pt x="38" y="207"/>
                  </a:lnTo>
                  <a:lnTo>
                    <a:pt x="38" y="206"/>
                  </a:lnTo>
                  <a:lnTo>
                    <a:pt x="39" y="208"/>
                  </a:lnTo>
                  <a:lnTo>
                    <a:pt x="36" y="206"/>
                  </a:lnTo>
                  <a:lnTo>
                    <a:pt x="38" y="206"/>
                  </a:lnTo>
                  <a:lnTo>
                    <a:pt x="37" y="207"/>
                  </a:lnTo>
                  <a:lnTo>
                    <a:pt x="42" y="199"/>
                  </a:lnTo>
                  <a:lnTo>
                    <a:pt x="42" y="201"/>
                  </a:lnTo>
                  <a:lnTo>
                    <a:pt x="41" y="199"/>
                  </a:lnTo>
                  <a:close/>
                  <a:moveTo>
                    <a:pt x="34" y="217"/>
                  </a:moveTo>
                  <a:lnTo>
                    <a:pt x="34" y="219"/>
                  </a:lnTo>
                  <a:lnTo>
                    <a:pt x="29" y="226"/>
                  </a:lnTo>
                  <a:lnTo>
                    <a:pt x="27" y="227"/>
                  </a:lnTo>
                  <a:lnTo>
                    <a:pt x="25" y="227"/>
                  </a:lnTo>
                  <a:lnTo>
                    <a:pt x="22" y="226"/>
                  </a:lnTo>
                  <a:lnTo>
                    <a:pt x="22" y="224"/>
                  </a:lnTo>
                  <a:lnTo>
                    <a:pt x="22" y="222"/>
                  </a:lnTo>
                  <a:lnTo>
                    <a:pt x="28" y="215"/>
                  </a:lnTo>
                  <a:lnTo>
                    <a:pt x="29" y="214"/>
                  </a:lnTo>
                  <a:lnTo>
                    <a:pt x="31" y="214"/>
                  </a:lnTo>
                  <a:lnTo>
                    <a:pt x="34" y="215"/>
                  </a:lnTo>
                  <a:lnTo>
                    <a:pt x="34" y="217"/>
                  </a:lnTo>
                  <a:close/>
                  <a:moveTo>
                    <a:pt x="29" y="216"/>
                  </a:moveTo>
                  <a:lnTo>
                    <a:pt x="32" y="218"/>
                  </a:lnTo>
                  <a:lnTo>
                    <a:pt x="30" y="218"/>
                  </a:lnTo>
                  <a:lnTo>
                    <a:pt x="31" y="217"/>
                  </a:lnTo>
                  <a:lnTo>
                    <a:pt x="26" y="225"/>
                  </a:lnTo>
                  <a:lnTo>
                    <a:pt x="26" y="223"/>
                  </a:lnTo>
                  <a:lnTo>
                    <a:pt x="27" y="225"/>
                  </a:lnTo>
                  <a:lnTo>
                    <a:pt x="24" y="223"/>
                  </a:lnTo>
                  <a:lnTo>
                    <a:pt x="26" y="223"/>
                  </a:lnTo>
                  <a:lnTo>
                    <a:pt x="25" y="224"/>
                  </a:lnTo>
                  <a:lnTo>
                    <a:pt x="30" y="216"/>
                  </a:lnTo>
                  <a:lnTo>
                    <a:pt x="30" y="218"/>
                  </a:lnTo>
                  <a:lnTo>
                    <a:pt x="29" y="216"/>
                  </a:lnTo>
                  <a:close/>
                  <a:moveTo>
                    <a:pt x="21" y="234"/>
                  </a:moveTo>
                  <a:lnTo>
                    <a:pt x="21" y="236"/>
                  </a:lnTo>
                  <a:lnTo>
                    <a:pt x="16" y="243"/>
                  </a:lnTo>
                  <a:lnTo>
                    <a:pt x="14" y="244"/>
                  </a:lnTo>
                  <a:lnTo>
                    <a:pt x="12" y="244"/>
                  </a:lnTo>
                  <a:lnTo>
                    <a:pt x="10" y="242"/>
                  </a:lnTo>
                  <a:lnTo>
                    <a:pt x="9" y="240"/>
                  </a:lnTo>
                  <a:lnTo>
                    <a:pt x="10" y="238"/>
                  </a:lnTo>
                  <a:lnTo>
                    <a:pt x="15" y="231"/>
                  </a:lnTo>
                  <a:lnTo>
                    <a:pt x="17" y="231"/>
                  </a:lnTo>
                  <a:lnTo>
                    <a:pt x="19" y="231"/>
                  </a:lnTo>
                  <a:lnTo>
                    <a:pt x="21" y="232"/>
                  </a:lnTo>
                  <a:lnTo>
                    <a:pt x="21" y="234"/>
                  </a:lnTo>
                  <a:close/>
                  <a:moveTo>
                    <a:pt x="17" y="232"/>
                  </a:moveTo>
                  <a:lnTo>
                    <a:pt x="20" y="235"/>
                  </a:lnTo>
                  <a:lnTo>
                    <a:pt x="17" y="235"/>
                  </a:lnTo>
                  <a:lnTo>
                    <a:pt x="19" y="234"/>
                  </a:lnTo>
                  <a:lnTo>
                    <a:pt x="13" y="241"/>
                  </a:lnTo>
                  <a:lnTo>
                    <a:pt x="14" y="240"/>
                  </a:lnTo>
                  <a:lnTo>
                    <a:pt x="14" y="241"/>
                  </a:lnTo>
                  <a:lnTo>
                    <a:pt x="11" y="240"/>
                  </a:lnTo>
                  <a:lnTo>
                    <a:pt x="14" y="240"/>
                  </a:lnTo>
                  <a:lnTo>
                    <a:pt x="12" y="240"/>
                  </a:lnTo>
                  <a:lnTo>
                    <a:pt x="18" y="233"/>
                  </a:lnTo>
                  <a:lnTo>
                    <a:pt x="17" y="234"/>
                  </a:lnTo>
                  <a:lnTo>
                    <a:pt x="17" y="232"/>
                  </a:lnTo>
                  <a:close/>
                  <a:moveTo>
                    <a:pt x="8" y="250"/>
                  </a:moveTo>
                  <a:lnTo>
                    <a:pt x="8" y="252"/>
                  </a:lnTo>
                  <a:lnTo>
                    <a:pt x="6" y="254"/>
                  </a:lnTo>
                  <a:lnTo>
                    <a:pt x="5" y="255"/>
                  </a:lnTo>
                  <a:lnTo>
                    <a:pt x="3" y="255"/>
                  </a:lnTo>
                  <a:lnTo>
                    <a:pt x="0" y="253"/>
                  </a:lnTo>
                  <a:lnTo>
                    <a:pt x="0" y="251"/>
                  </a:lnTo>
                  <a:lnTo>
                    <a:pt x="0" y="249"/>
                  </a:lnTo>
                  <a:lnTo>
                    <a:pt x="2" y="247"/>
                  </a:lnTo>
                  <a:lnTo>
                    <a:pt x="3" y="247"/>
                  </a:lnTo>
                  <a:lnTo>
                    <a:pt x="5" y="247"/>
                  </a:lnTo>
                  <a:lnTo>
                    <a:pt x="8" y="248"/>
                  </a:lnTo>
                  <a:lnTo>
                    <a:pt x="8" y="250"/>
                  </a:lnTo>
                  <a:close/>
                  <a:moveTo>
                    <a:pt x="4" y="249"/>
                  </a:moveTo>
                  <a:lnTo>
                    <a:pt x="6" y="251"/>
                  </a:lnTo>
                  <a:lnTo>
                    <a:pt x="4" y="251"/>
                  </a:lnTo>
                  <a:lnTo>
                    <a:pt x="5" y="250"/>
                  </a:lnTo>
                  <a:lnTo>
                    <a:pt x="3" y="252"/>
                  </a:lnTo>
                  <a:lnTo>
                    <a:pt x="4" y="250"/>
                  </a:lnTo>
                  <a:lnTo>
                    <a:pt x="4" y="253"/>
                  </a:lnTo>
                  <a:lnTo>
                    <a:pt x="2" y="251"/>
                  </a:lnTo>
                  <a:lnTo>
                    <a:pt x="4" y="251"/>
                  </a:lnTo>
                  <a:lnTo>
                    <a:pt x="3" y="251"/>
                  </a:lnTo>
                  <a:lnTo>
                    <a:pt x="5" y="249"/>
                  </a:lnTo>
                  <a:lnTo>
                    <a:pt x="4" y="251"/>
                  </a:lnTo>
                  <a:lnTo>
                    <a:pt x="4" y="249"/>
                  </a:lnTo>
                  <a:close/>
                </a:path>
              </a:pathLst>
            </a:custGeom>
            <a:solidFill>
              <a:srgbClr val="000000"/>
            </a:solidFill>
            <a:ln w="0">
              <a:solidFill>
                <a:srgbClr val="000000"/>
              </a:solidFill>
              <a:round/>
              <a:headEnd/>
              <a:tailEnd/>
            </a:ln>
          </p:spPr>
          <p:txBody>
            <a:bodyPr/>
            <a:lstStyle/>
            <a:p>
              <a:endParaRPr lang="en-US"/>
            </a:p>
          </p:txBody>
        </p:sp>
        <p:sp>
          <p:nvSpPr>
            <p:cNvPr id="42092" name="Rectangle 88"/>
            <p:cNvSpPr>
              <a:spLocks noChangeArrowheads="1"/>
            </p:cNvSpPr>
            <p:nvPr/>
          </p:nvSpPr>
          <p:spPr bwMode="auto">
            <a:xfrm>
              <a:off x="2674" y="1487"/>
              <a:ext cx="81" cy="108"/>
            </a:xfrm>
            <a:prstGeom prst="rect">
              <a:avLst/>
            </a:prstGeom>
            <a:noFill/>
            <a:ln w="9525">
              <a:noFill/>
              <a:miter lim="800000"/>
              <a:headEnd/>
              <a:tailEnd/>
            </a:ln>
          </p:spPr>
          <p:txBody>
            <a:bodyPr wrap="none" lIns="0" tIns="0" rIns="0" bIns="0">
              <a:spAutoFit/>
            </a:bodyPr>
            <a:lstStyle/>
            <a:p>
              <a:r>
                <a:rPr lang="en-US" sz="1000">
                  <a:solidFill>
                    <a:srgbClr val="000000"/>
                  </a:solidFill>
                </a:rPr>
                <a:t>L</a:t>
              </a:r>
              <a:endParaRPr lang="en-US"/>
            </a:p>
          </p:txBody>
        </p:sp>
        <p:sp>
          <p:nvSpPr>
            <p:cNvPr id="42093" name="Rectangle 89"/>
            <p:cNvSpPr>
              <a:spLocks noChangeArrowheads="1"/>
            </p:cNvSpPr>
            <p:nvPr/>
          </p:nvSpPr>
          <p:spPr bwMode="auto">
            <a:xfrm>
              <a:off x="3201" y="1202"/>
              <a:ext cx="153" cy="99"/>
            </a:xfrm>
            <a:prstGeom prst="rect">
              <a:avLst/>
            </a:prstGeom>
            <a:noFill/>
            <a:ln w="9525">
              <a:noFill/>
              <a:miter lim="800000"/>
              <a:headEnd/>
              <a:tailEnd/>
            </a:ln>
          </p:spPr>
          <p:txBody>
            <a:bodyPr wrap="none" lIns="0" tIns="0" rIns="0" bIns="0">
              <a:spAutoFit/>
            </a:bodyPr>
            <a:lstStyle/>
            <a:p>
              <a:r>
                <a:rPr lang="en-US" sz="900">
                  <a:solidFill>
                    <a:srgbClr val="000000"/>
                  </a:solidFill>
                </a:rPr>
                <a:t>DK </a:t>
              </a:r>
              <a:endParaRPr lang="en-US"/>
            </a:p>
          </p:txBody>
        </p:sp>
        <p:sp>
          <p:nvSpPr>
            <p:cNvPr id="42094" name="Rectangle 90"/>
            <p:cNvSpPr>
              <a:spLocks noChangeArrowheads="1"/>
            </p:cNvSpPr>
            <p:nvPr/>
          </p:nvSpPr>
          <p:spPr bwMode="auto">
            <a:xfrm>
              <a:off x="3212" y="1288"/>
              <a:ext cx="126" cy="99"/>
            </a:xfrm>
            <a:prstGeom prst="rect">
              <a:avLst/>
            </a:prstGeom>
            <a:noFill/>
            <a:ln w="9525">
              <a:noFill/>
              <a:miter lim="800000"/>
              <a:headEnd/>
              <a:tailEnd/>
            </a:ln>
          </p:spPr>
          <p:txBody>
            <a:bodyPr wrap="none" lIns="0" tIns="0" rIns="0" bIns="0">
              <a:spAutoFit/>
            </a:bodyPr>
            <a:lstStyle/>
            <a:p>
              <a:r>
                <a:rPr lang="en-US" sz="900">
                  <a:solidFill>
                    <a:srgbClr val="000000"/>
                  </a:solidFill>
                </a:rPr>
                <a:t>(E)</a:t>
              </a:r>
              <a:endParaRPr lang="en-US"/>
            </a:p>
          </p:txBody>
        </p:sp>
        <p:sp>
          <p:nvSpPr>
            <p:cNvPr id="42095" name="Rectangle 91"/>
            <p:cNvSpPr>
              <a:spLocks noChangeArrowheads="1"/>
            </p:cNvSpPr>
            <p:nvPr/>
          </p:nvSpPr>
          <p:spPr bwMode="auto">
            <a:xfrm>
              <a:off x="3617" y="1087"/>
              <a:ext cx="90" cy="108"/>
            </a:xfrm>
            <a:prstGeom prst="rect">
              <a:avLst/>
            </a:prstGeom>
            <a:noFill/>
            <a:ln w="9525">
              <a:noFill/>
              <a:miter lim="800000"/>
              <a:headEnd/>
              <a:tailEnd/>
            </a:ln>
          </p:spPr>
          <p:txBody>
            <a:bodyPr wrap="none" lIns="0" tIns="0" rIns="0" bIns="0">
              <a:spAutoFit/>
            </a:bodyPr>
            <a:lstStyle/>
            <a:p>
              <a:r>
                <a:rPr lang="en-US" sz="1000">
                  <a:solidFill>
                    <a:srgbClr val="000000"/>
                  </a:solidFill>
                </a:rPr>
                <a:t>S</a:t>
              </a:r>
              <a:endParaRPr lang="en-US"/>
            </a:p>
          </p:txBody>
        </p:sp>
        <p:sp>
          <p:nvSpPr>
            <p:cNvPr id="42096" name="Rectangle 92"/>
            <p:cNvSpPr>
              <a:spLocks noChangeArrowheads="1"/>
            </p:cNvSpPr>
            <p:nvPr/>
          </p:nvSpPr>
          <p:spPr bwMode="auto">
            <a:xfrm>
              <a:off x="3321" y="783"/>
              <a:ext cx="121" cy="97"/>
            </a:xfrm>
            <a:prstGeom prst="rect">
              <a:avLst/>
            </a:prstGeom>
            <a:noFill/>
            <a:ln w="9525">
              <a:noFill/>
              <a:miter lim="800000"/>
              <a:headEnd/>
              <a:tailEnd/>
            </a:ln>
          </p:spPr>
          <p:txBody>
            <a:bodyPr wrap="none" lIns="0" tIns="0" rIns="0" bIns="0">
              <a:spAutoFit/>
            </a:bodyPr>
            <a:lstStyle/>
            <a:p>
              <a:r>
                <a:rPr lang="en-US" sz="1000">
                  <a:solidFill>
                    <a:srgbClr val="000000"/>
                  </a:solidFill>
                </a:rPr>
                <a:t>NO</a:t>
              </a:r>
              <a:endParaRPr lang="en-US"/>
            </a:p>
          </p:txBody>
        </p:sp>
        <p:sp>
          <p:nvSpPr>
            <p:cNvPr id="42097" name="Rectangle 102"/>
            <p:cNvSpPr>
              <a:spLocks noChangeArrowheads="1"/>
            </p:cNvSpPr>
            <p:nvPr/>
          </p:nvSpPr>
          <p:spPr bwMode="auto">
            <a:xfrm>
              <a:off x="3320" y="1758"/>
              <a:ext cx="144" cy="108"/>
            </a:xfrm>
            <a:prstGeom prst="rect">
              <a:avLst/>
            </a:prstGeom>
            <a:solidFill>
              <a:srgbClr val="FF8000"/>
            </a:solidFill>
            <a:ln w="9525">
              <a:noFill/>
              <a:miter lim="800000"/>
              <a:headEnd/>
              <a:tailEnd/>
            </a:ln>
          </p:spPr>
          <p:txBody>
            <a:bodyPr wrap="none" lIns="0" tIns="0" rIns="0" bIns="0">
              <a:spAutoFit/>
            </a:bodyPr>
            <a:lstStyle/>
            <a:p>
              <a:r>
                <a:rPr lang="en-US" sz="1000">
                  <a:solidFill>
                    <a:srgbClr val="000000"/>
                  </a:solidFill>
                </a:rPr>
                <a:t>CZ</a:t>
              </a:r>
              <a:endParaRPr lang="en-US"/>
            </a:p>
          </p:txBody>
        </p:sp>
        <p:sp>
          <p:nvSpPr>
            <p:cNvPr id="42098" name="Freeform 103"/>
            <p:cNvSpPr>
              <a:spLocks/>
            </p:cNvSpPr>
            <p:nvPr/>
          </p:nvSpPr>
          <p:spPr bwMode="auto">
            <a:xfrm>
              <a:off x="3799" y="1890"/>
              <a:ext cx="221" cy="234"/>
            </a:xfrm>
            <a:custGeom>
              <a:avLst/>
              <a:gdLst>
                <a:gd name="T0" fmla="*/ 0 w 784"/>
                <a:gd name="T1" fmla="*/ 9 h 832"/>
                <a:gd name="T2" fmla="*/ 9 w 784"/>
                <a:gd name="T3" fmla="*/ 0 h 832"/>
                <a:gd name="T4" fmla="*/ 9 w 784"/>
                <a:gd name="T5" fmla="*/ 0 h 832"/>
                <a:gd name="T6" fmla="*/ 9 w 784"/>
                <a:gd name="T7" fmla="*/ 0 h 832"/>
                <a:gd name="T8" fmla="*/ 17 w 784"/>
                <a:gd name="T9" fmla="*/ 9 h 832"/>
                <a:gd name="T10" fmla="*/ 17 w 784"/>
                <a:gd name="T11" fmla="*/ 9 h 832"/>
                <a:gd name="T12" fmla="*/ 17 w 784"/>
                <a:gd name="T13" fmla="*/ 9 h 832"/>
                <a:gd name="T14" fmla="*/ 9 w 784"/>
                <a:gd name="T15" fmla="*/ 19 h 832"/>
                <a:gd name="T16" fmla="*/ 9 w 784"/>
                <a:gd name="T17" fmla="*/ 19 h 832"/>
                <a:gd name="T18" fmla="*/ 9 w 784"/>
                <a:gd name="T19" fmla="*/ 19 h 832"/>
                <a:gd name="T20" fmla="*/ 0 w 784"/>
                <a:gd name="T21" fmla="*/ 9 h 832"/>
                <a:gd name="T22" fmla="*/ 0 w 784"/>
                <a:gd name="T23" fmla="*/ 9 h 8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84"/>
                <a:gd name="T37" fmla="*/ 0 h 832"/>
                <a:gd name="T38" fmla="*/ 784 w 784"/>
                <a:gd name="T39" fmla="*/ 832 h 8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84" h="832">
                  <a:moveTo>
                    <a:pt x="0" y="416"/>
                  </a:moveTo>
                  <a:cubicBezTo>
                    <a:pt x="0" y="187"/>
                    <a:pt x="176" y="0"/>
                    <a:pt x="392" y="0"/>
                  </a:cubicBezTo>
                  <a:cubicBezTo>
                    <a:pt x="392" y="0"/>
                    <a:pt x="392" y="0"/>
                    <a:pt x="392" y="0"/>
                  </a:cubicBezTo>
                  <a:cubicBezTo>
                    <a:pt x="609" y="0"/>
                    <a:pt x="784" y="187"/>
                    <a:pt x="784" y="416"/>
                  </a:cubicBezTo>
                  <a:cubicBezTo>
                    <a:pt x="784" y="416"/>
                    <a:pt x="784" y="416"/>
                    <a:pt x="784" y="416"/>
                  </a:cubicBezTo>
                  <a:cubicBezTo>
                    <a:pt x="784" y="646"/>
                    <a:pt x="609" y="832"/>
                    <a:pt x="392" y="832"/>
                  </a:cubicBezTo>
                  <a:cubicBezTo>
                    <a:pt x="392" y="832"/>
                    <a:pt x="392" y="832"/>
                    <a:pt x="392" y="832"/>
                  </a:cubicBezTo>
                  <a:cubicBezTo>
                    <a:pt x="176" y="832"/>
                    <a:pt x="0" y="646"/>
                    <a:pt x="0" y="416"/>
                  </a:cubicBezTo>
                  <a:cubicBezTo>
                    <a:pt x="0" y="416"/>
                    <a:pt x="0" y="416"/>
                    <a:pt x="0" y="416"/>
                  </a:cubicBezTo>
                  <a:close/>
                </a:path>
              </a:pathLst>
            </a:custGeom>
            <a:solidFill>
              <a:schemeClr val="bg1"/>
            </a:solidFill>
            <a:ln w="0">
              <a:solidFill>
                <a:srgbClr val="000000"/>
              </a:solidFill>
              <a:round/>
              <a:headEnd/>
              <a:tailEnd/>
            </a:ln>
          </p:spPr>
          <p:txBody>
            <a:bodyPr/>
            <a:lstStyle/>
            <a:p>
              <a:endParaRPr lang="en-US"/>
            </a:p>
          </p:txBody>
        </p:sp>
        <p:sp>
          <p:nvSpPr>
            <p:cNvPr id="42099" name="Freeform 104"/>
            <p:cNvSpPr>
              <a:spLocks noEditPoints="1"/>
            </p:cNvSpPr>
            <p:nvPr/>
          </p:nvSpPr>
          <p:spPr bwMode="auto">
            <a:xfrm>
              <a:off x="3797" y="1888"/>
              <a:ext cx="225" cy="239"/>
            </a:xfrm>
            <a:custGeom>
              <a:avLst/>
              <a:gdLst>
                <a:gd name="T0" fmla="*/ 0 w 800"/>
                <a:gd name="T1" fmla="*/ 8 h 848"/>
                <a:gd name="T2" fmla="*/ 1 w 800"/>
                <a:gd name="T3" fmla="*/ 6 h 848"/>
                <a:gd name="T4" fmla="*/ 3 w 800"/>
                <a:gd name="T5" fmla="*/ 3 h 848"/>
                <a:gd name="T6" fmla="*/ 4 w 800"/>
                <a:gd name="T7" fmla="*/ 2 h 848"/>
                <a:gd name="T8" fmla="*/ 7 w 800"/>
                <a:gd name="T9" fmla="*/ 0 h 848"/>
                <a:gd name="T10" fmla="*/ 9 w 800"/>
                <a:gd name="T11" fmla="*/ 0 h 848"/>
                <a:gd name="T12" fmla="*/ 12 w 800"/>
                <a:gd name="T13" fmla="*/ 1 h 848"/>
                <a:gd name="T14" fmla="*/ 14 w 800"/>
                <a:gd name="T15" fmla="*/ 2 h 848"/>
                <a:gd name="T16" fmla="*/ 16 w 800"/>
                <a:gd name="T17" fmla="*/ 4 h 848"/>
                <a:gd name="T18" fmla="*/ 17 w 800"/>
                <a:gd name="T19" fmla="*/ 6 h 848"/>
                <a:gd name="T20" fmla="*/ 18 w 800"/>
                <a:gd name="T21" fmla="*/ 10 h 848"/>
                <a:gd name="T22" fmla="*/ 18 w 800"/>
                <a:gd name="T23" fmla="*/ 12 h 848"/>
                <a:gd name="T24" fmla="*/ 16 w 800"/>
                <a:gd name="T25" fmla="*/ 15 h 848"/>
                <a:gd name="T26" fmla="*/ 15 w 800"/>
                <a:gd name="T27" fmla="*/ 16 h 848"/>
                <a:gd name="T28" fmla="*/ 12 w 800"/>
                <a:gd name="T29" fmla="*/ 18 h 848"/>
                <a:gd name="T30" fmla="*/ 11 w 800"/>
                <a:gd name="T31" fmla="*/ 19 h 848"/>
                <a:gd name="T32" fmla="*/ 7 w 800"/>
                <a:gd name="T33" fmla="*/ 19 h 848"/>
                <a:gd name="T34" fmla="*/ 5 w 800"/>
                <a:gd name="T35" fmla="*/ 18 h 848"/>
                <a:gd name="T36" fmla="*/ 3 w 800"/>
                <a:gd name="T37" fmla="*/ 16 h 848"/>
                <a:gd name="T38" fmla="*/ 1 w 800"/>
                <a:gd name="T39" fmla="*/ 15 h 848"/>
                <a:gd name="T40" fmla="*/ 0 w 800"/>
                <a:gd name="T41" fmla="*/ 12 h 848"/>
                <a:gd name="T42" fmla="*/ 1 w 800"/>
                <a:gd name="T43" fmla="*/ 11 h 848"/>
                <a:gd name="T44" fmla="*/ 1 w 800"/>
                <a:gd name="T45" fmla="*/ 13 h 848"/>
                <a:gd name="T46" fmla="*/ 3 w 800"/>
                <a:gd name="T47" fmla="*/ 16 h 848"/>
                <a:gd name="T48" fmla="*/ 4 w 800"/>
                <a:gd name="T49" fmla="*/ 17 h 848"/>
                <a:gd name="T50" fmla="*/ 7 w 800"/>
                <a:gd name="T51" fmla="*/ 19 h 848"/>
                <a:gd name="T52" fmla="*/ 9 w 800"/>
                <a:gd name="T53" fmla="*/ 19 h 848"/>
                <a:gd name="T54" fmla="*/ 12 w 800"/>
                <a:gd name="T55" fmla="*/ 18 h 848"/>
                <a:gd name="T56" fmla="*/ 14 w 800"/>
                <a:gd name="T57" fmla="*/ 17 h 848"/>
                <a:gd name="T58" fmla="*/ 16 w 800"/>
                <a:gd name="T59" fmla="*/ 15 h 848"/>
                <a:gd name="T60" fmla="*/ 17 w 800"/>
                <a:gd name="T61" fmla="*/ 13 h 848"/>
                <a:gd name="T62" fmla="*/ 17 w 800"/>
                <a:gd name="T63" fmla="*/ 10 h 848"/>
                <a:gd name="T64" fmla="*/ 17 w 800"/>
                <a:gd name="T65" fmla="*/ 8 h 848"/>
                <a:gd name="T66" fmla="*/ 16 w 800"/>
                <a:gd name="T67" fmla="*/ 5 h 848"/>
                <a:gd name="T68" fmla="*/ 15 w 800"/>
                <a:gd name="T69" fmla="*/ 3 h 848"/>
                <a:gd name="T70" fmla="*/ 12 w 800"/>
                <a:gd name="T71" fmla="*/ 1 h 848"/>
                <a:gd name="T72" fmla="*/ 11 w 800"/>
                <a:gd name="T73" fmla="*/ 1 h 848"/>
                <a:gd name="T74" fmla="*/ 7 w 800"/>
                <a:gd name="T75" fmla="*/ 1 h 848"/>
                <a:gd name="T76" fmla="*/ 6 w 800"/>
                <a:gd name="T77" fmla="*/ 1 h 848"/>
                <a:gd name="T78" fmla="*/ 3 w 800"/>
                <a:gd name="T79" fmla="*/ 3 h 848"/>
                <a:gd name="T80" fmla="*/ 2 w 800"/>
                <a:gd name="T81" fmla="*/ 5 h 848"/>
                <a:gd name="T82" fmla="*/ 1 w 800"/>
                <a:gd name="T83" fmla="*/ 8 h 848"/>
                <a:gd name="T84" fmla="*/ 0 w 800"/>
                <a:gd name="T85" fmla="*/ 10 h 8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00"/>
                <a:gd name="T130" fmla="*/ 0 h 848"/>
                <a:gd name="T131" fmla="*/ 800 w 800"/>
                <a:gd name="T132" fmla="*/ 848 h 84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00" h="848">
                  <a:moveTo>
                    <a:pt x="0" y="425"/>
                  </a:moveTo>
                  <a:cubicBezTo>
                    <a:pt x="0" y="425"/>
                    <a:pt x="0" y="424"/>
                    <a:pt x="0" y="424"/>
                  </a:cubicBezTo>
                  <a:lnTo>
                    <a:pt x="8" y="340"/>
                  </a:lnTo>
                  <a:cubicBezTo>
                    <a:pt x="9" y="339"/>
                    <a:pt x="9" y="339"/>
                    <a:pt x="9" y="338"/>
                  </a:cubicBezTo>
                  <a:lnTo>
                    <a:pt x="32" y="260"/>
                  </a:lnTo>
                  <a:cubicBezTo>
                    <a:pt x="32" y="260"/>
                    <a:pt x="32" y="259"/>
                    <a:pt x="32" y="259"/>
                  </a:cubicBezTo>
                  <a:lnTo>
                    <a:pt x="68" y="189"/>
                  </a:lnTo>
                  <a:cubicBezTo>
                    <a:pt x="69" y="188"/>
                    <a:pt x="69" y="188"/>
                    <a:pt x="69" y="188"/>
                  </a:cubicBezTo>
                  <a:lnTo>
                    <a:pt x="117" y="126"/>
                  </a:lnTo>
                  <a:cubicBezTo>
                    <a:pt x="117" y="125"/>
                    <a:pt x="118" y="125"/>
                    <a:pt x="118" y="124"/>
                  </a:cubicBezTo>
                  <a:lnTo>
                    <a:pt x="176" y="73"/>
                  </a:lnTo>
                  <a:cubicBezTo>
                    <a:pt x="177" y="73"/>
                    <a:pt x="177" y="73"/>
                    <a:pt x="178" y="73"/>
                  </a:cubicBezTo>
                  <a:lnTo>
                    <a:pt x="245" y="35"/>
                  </a:lnTo>
                  <a:cubicBezTo>
                    <a:pt x="245" y="34"/>
                    <a:pt x="245" y="34"/>
                    <a:pt x="246" y="34"/>
                  </a:cubicBezTo>
                  <a:lnTo>
                    <a:pt x="319" y="9"/>
                  </a:lnTo>
                  <a:cubicBezTo>
                    <a:pt x="319" y="9"/>
                    <a:pt x="320" y="9"/>
                    <a:pt x="321" y="8"/>
                  </a:cubicBezTo>
                  <a:lnTo>
                    <a:pt x="400" y="0"/>
                  </a:lnTo>
                  <a:cubicBezTo>
                    <a:pt x="400" y="0"/>
                    <a:pt x="401" y="0"/>
                    <a:pt x="401" y="0"/>
                  </a:cubicBezTo>
                  <a:lnTo>
                    <a:pt x="480" y="8"/>
                  </a:lnTo>
                  <a:cubicBezTo>
                    <a:pt x="481" y="9"/>
                    <a:pt x="481" y="9"/>
                    <a:pt x="482" y="9"/>
                  </a:cubicBezTo>
                  <a:lnTo>
                    <a:pt x="556" y="34"/>
                  </a:lnTo>
                  <a:cubicBezTo>
                    <a:pt x="557" y="34"/>
                    <a:pt x="557" y="34"/>
                    <a:pt x="557" y="35"/>
                  </a:cubicBezTo>
                  <a:lnTo>
                    <a:pt x="623" y="73"/>
                  </a:lnTo>
                  <a:cubicBezTo>
                    <a:pt x="624" y="73"/>
                    <a:pt x="624" y="73"/>
                    <a:pt x="625" y="73"/>
                  </a:cubicBezTo>
                  <a:lnTo>
                    <a:pt x="683" y="124"/>
                  </a:lnTo>
                  <a:cubicBezTo>
                    <a:pt x="683" y="125"/>
                    <a:pt x="683" y="125"/>
                    <a:pt x="684" y="126"/>
                  </a:cubicBezTo>
                  <a:lnTo>
                    <a:pt x="732" y="188"/>
                  </a:lnTo>
                  <a:cubicBezTo>
                    <a:pt x="732" y="188"/>
                    <a:pt x="732" y="188"/>
                    <a:pt x="733" y="189"/>
                  </a:cubicBezTo>
                  <a:lnTo>
                    <a:pt x="769" y="259"/>
                  </a:lnTo>
                  <a:cubicBezTo>
                    <a:pt x="769" y="259"/>
                    <a:pt x="769" y="260"/>
                    <a:pt x="769" y="260"/>
                  </a:cubicBezTo>
                  <a:lnTo>
                    <a:pt x="792" y="338"/>
                  </a:lnTo>
                  <a:cubicBezTo>
                    <a:pt x="792" y="339"/>
                    <a:pt x="792" y="339"/>
                    <a:pt x="792" y="340"/>
                  </a:cubicBezTo>
                  <a:lnTo>
                    <a:pt x="800" y="424"/>
                  </a:lnTo>
                  <a:cubicBezTo>
                    <a:pt x="800" y="424"/>
                    <a:pt x="800" y="425"/>
                    <a:pt x="800" y="425"/>
                  </a:cubicBezTo>
                  <a:lnTo>
                    <a:pt x="792" y="509"/>
                  </a:lnTo>
                  <a:cubicBezTo>
                    <a:pt x="792" y="510"/>
                    <a:pt x="792" y="510"/>
                    <a:pt x="792" y="511"/>
                  </a:cubicBezTo>
                  <a:lnTo>
                    <a:pt x="769" y="589"/>
                  </a:lnTo>
                  <a:cubicBezTo>
                    <a:pt x="769" y="589"/>
                    <a:pt x="769" y="590"/>
                    <a:pt x="769" y="590"/>
                  </a:cubicBezTo>
                  <a:lnTo>
                    <a:pt x="733" y="661"/>
                  </a:lnTo>
                  <a:cubicBezTo>
                    <a:pt x="732" y="662"/>
                    <a:pt x="732" y="662"/>
                    <a:pt x="732" y="662"/>
                  </a:cubicBezTo>
                  <a:lnTo>
                    <a:pt x="684" y="723"/>
                  </a:lnTo>
                  <a:cubicBezTo>
                    <a:pt x="683" y="724"/>
                    <a:pt x="683" y="724"/>
                    <a:pt x="683" y="724"/>
                  </a:cubicBezTo>
                  <a:lnTo>
                    <a:pt x="625" y="775"/>
                  </a:lnTo>
                  <a:cubicBezTo>
                    <a:pt x="624" y="776"/>
                    <a:pt x="624" y="776"/>
                    <a:pt x="623" y="776"/>
                  </a:cubicBezTo>
                  <a:lnTo>
                    <a:pt x="557" y="814"/>
                  </a:lnTo>
                  <a:cubicBezTo>
                    <a:pt x="557" y="815"/>
                    <a:pt x="557" y="815"/>
                    <a:pt x="556" y="815"/>
                  </a:cubicBezTo>
                  <a:lnTo>
                    <a:pt x="482" y="840"/>
                  </a:lnTo>
                  <a:cubicBezTo>
                    <a:pt x="481" y="840"/>
                    <a:pt x="481" y="840"/>
                    <a:pt x="480" y="840"/>
                  </a:cubicBezTo>
                  <a:lnTo>
                    <a:pt x="401" y="848"/>
                  </a:lnTo>
                  <a:cubicBezTo>
                    <a:pt x="401" y="848"/>
                    <a:pt x="400" y="848"/>
                    <a:pt x="400" y="848"/>
                  </a:cubicBezTo>
                  <a:lnTo>
                    <a:pt x="321" y="840"/>
                  </a:lnTo>
                  <a:cubicBezTo>
                    <a:pt x="320" y="840"/>
                    <a:pt x="319" y="840"/>
                    <a:pt x="319" y="840"/>
                  </a:cubicBezTo>
                  <a:lnTo>
                    <a:pt x="246" y="815"/>
                  </a:lnTo>
                  <a:cubicBezTo>
                    <a:pt x="245" y="815"/>
                    <a:pt x="245" y="815"/>
                    <a:pt x="245" y="814"/>
                  </a:cubicBezTo>
                  <a:lnTo>
                    <a:pt x="178" y="776"/>
                  </a:lnTo>
                  <a:cubicBezTo>
                    <a:pt x="177" y="776"/>
                    <a:pt x="177" y="776"/>
                    <a:pt x="176" y="775"/>
                  </a:cubicBezTo>
                  <a:lnTo>
                    <a:pt x="118" y="724"/>
                  </a:lnTo>
                  <a:cubicBezTo>
                    <a:pt x="118" y="724"/>
                    <a:pt x="117" y="724"/>
                    <a:pt x="117" y="723"/>
                  </a:cubicBezTo>
                  <a:lnTo>
                    <a:pt x="69" y="662"/>
                  </a:lnTo>
                  <a:cubicBezTo>
                    <a:pt x="69" y="662"/>
                    <a:pt x="69" y="662"/>
                    <a:pt x="68" y="661"/>
                  </a:cubicBezTo>
                  <a:lnTo>
                    <a:pt x="32" y="590"/>
                  </a:lnTo>
                  <a:cubicBezTo>
                    <a:pt x="32" y="590"/>
                    <a:pt x="32" y="589"/>
                    <a:pt x="32" y="589"/>
                  </a:cubicBezTo>
                  <a:lnTo>
                    <a:pt x="9" y="511"/>
                  </a:lnTo>
                  <a:cubicBezTo>
                    <a:pt x="9" y="510"/>
                    <a:pt x="9" y="510"/>
                    <a:pt x="8" y="509"/>
                  </a:cubicBezTo>
                  <a:lnTo>
                    <a:pt x="0" y="425"/>
                  </a:lnTo>
                  <a:close/>
                  <a:moveTo>
                    <a:pt x="24" y="508"/>
                  </a:moveTo>
                  <a:lnTo>
                    <a:pt x="24" y="506"/>
                  </a:lnTo>
                  <a:lnTo>
                    <a:pt x="47" y="584"/>
                  </a:lnTo>
                  <a:lnTo>
                    <a:pt x="47" y="583"/>
                  </a:lnTo>
                  <a:lnTo>
                    <a:pt x="83" y="654"/>
                  </a:lnTo>
                  <a:lnTo>
                    <a:pt x="82" y="653"/>
                  </a:lnTo>
                  <a:lnTo>
                    <a:pt x="130" y="714"/>
                  </a:lnTo>
                  <a:lnTo>
                    <a:pt x="129" y="712"/>
                  </a:lnTo>
                  <a:lnTo>
                    <a:pt x="187" y="763"/>
                  </a:lnTo>
                  <a:lnTo>
                    <a:pt x="185" y="763"/>
                  </a:lnTo>
                  <a:lnTo>
                    <a:pt x="252" y="801"/>
                  </a:lnTo>
                  <a:lnTo>
                    <a:pt x="251" y="800"/>
                  </a:lnTo>
                  <a:lnTo>
                    <a:pt x="324" y="825"/>
                  </a:lnTo>
                  <a:lnTo>
                    <a:pt x="322" y="824"/>
                  </a:lnTo>
                  <a:lnTo>
                    <a:pt x="401" y="832"/>
                  </a:lnTo>
                  <a:lnTo>
                    <a:pt x="400" y="832"/>
                  </a:lnTo>
                  <a:lnTo>
                    <a:pt x="479" y="824"/>
                  </a:lnTo>
                  <a:lnTo>
                    <a:pt x="477" y="825"/>
                  </a:lnTo>
                  <a:lnTo>
                    <a:pt x="551" y="800"/>
                  </a:lnTo>
                  <a:lnTo>
                    <a:pt x="549" y="801"/>
                  </a:lnTo>
                  <a:lnTo>
                    <a:pt x="615" y="763"/>
                  </a:lnTo>
                  <a:lnTo>
                    <a:pt x="614" y="763"/>
                  </a:lnTo>
                  <a:lnTo>
                    <a:pt x="672" y="712"/>
                  </a:lnTo>
                  <a:lnTo>
                    <a:pt x="671" y="714"/>
                  </a:lnTo>
                  <a:lnTo>
                    <a:pt x="719" y="653"/>
                  </a:lnTo>
                  <a:lnTo>
                    <a:pt x="718" y="654"/>
                  </a:lnTo>
                  <a:lnTo>
                    <a:pt x="754" y="583"/>
                  </a:lnTo>
                  <a:lnTo>
                    <a:pt x="754" y="584"/>
                  </a:lnTo>
                  <a:lnTo>
                    <a:pt x="777" y="506"/>
                  </a:lnTo>
                  <a:lnTo>
                    <a:pt x="776" y="508"/>
                  </a:lnTo>
                  <a:lnTo>
                    <a:pt x="784" y="424"/>
                  </a:lnTo>
                  <a:lnTo>
                    <a:pt x="784" y="425"/>
                  </a:lnTo>
                  <a:lnTo>
                    <a:pt x="776" y="341"/>
                  </a:lnTo>
                  <a:lnTo>
                    <a:pt x="777" y="343"/>
                  </a:lnTo>
                  <a:lnTo>
                    <a:pt x="754" y="265"/>
                  </a:lnTo>
                  <a:lnTo>
                    <a:pt x="754" y="266"/>
                  </a:lnTo>
                  <a:lnTo>
                    <a:pt x="718" y="196"/>
                  </a:lnTo>
                  <a:lnTo>
                    <a:pt x="719" y="197"/>
                  </a:lnTo>
                  <a:lnTo>
                    <a:pt x="671" y="135"/>
                  </a:lnTo>
                  <a:lnTo>
                    <a:pt x="672" y="136"/>
                  </a:lnTo>
                  <a:lnTo>
                    <a:pt x="614" y="85"/>
                  </a:lnTo>
                  <a:lnTo>
                    <a:pt x="615" y="86"/>
                  </a:lnTo>
                  <a:lnTo>
                    <a:pt x="549" y="48"/>
                  </a:lnTo>
                  <a:lnTo>
                    <a:pt x="551" y="49"/>
                  </a:lnTo>
                  <a:lnTo>
                    <a:pt x="477" y="24"/>
                  </a:lnTo>
                  <a:lnTo>
                    <a:pt x="479" y="24"/>
                  </a:lnTo>
                  <a:lnTo>
                    <a:pt x="400" y="16"/>
                  </a:lnTo>
                  <a:lnTo>
                    <a:pt x="401" y="16"/>
                  </a:lnTo>
                  <a:lnTo>
                    <a:pt x="322" y="24"/>
                  </a:lnTo>
                  <a:lnTo>
                    <a:pt x="324" y="24"/>
                  </a:lnTo>
                  <a:lnTo>
                    <a:pt x="251" y="49"/>
                  </a:lnTo>
                  <a:lnTo>
                    <a:pt x="252" y="48"/>
                  </a:lnTo>
                  <a:lnTo>
                    <a:pt x="185" y="86"/>
                  </a:lnTo>
                  <a:lnTo>
                    <a:pt x="187" y="85"/>
                  </a:lnTo>
                  <a:lnTo>
                    <a:pt x="129" y="136"/>
                  </a:lnTo>
                  <a:lnTo>
                    <a:pt x="130" y="135"/>
                  </a:lnTo>
                  <a:lnTo>
                    <a:pt x="82" y="197"/>
                  </a:lnTo>
                  <a:lnTo>
                    <a:pt x="83" y="196"/>
                  </a:lnTo>
                  <a:lnTo>
                    <a:pt x="47" y="266"/>
                  </a:lnTo>
                  <a:lnTo>
                    <a:pt x="47" y="265"/>
                  </a:lnTo>
                  <a:lnTo>
                    <a:pt x="24" y="343"/>
                  </a:lnTo>
                  <a:lnTo>
                    <a:pt x="24" y="341"/>
                  </a:lnTo>
                  <a:lnTo>
                    <a:pt x="16" y="425"/>
                  </a:lnTo>
                  <a:lnTo>
                    <a:pt x="16" y="424"/>
                  </a:lnTo>
                  <a:lnTo>
                    <a:pt x="24" y="508"/>
                  </a:lnTo>
                  <a:close/>
                </a:path>
              </a:pathLst>
            </a:custGeom>
            <a:solidFill>
              <a:srgbClr val="000000"/>
            </a:solidFill>
            <a:ln w="0">
              <a:solidFill>
                <a:srgbClr val="000000"/>
              </a:solidFill>
              <a:round/>
              <a:headEnd/>
              <a:tailEnd/>
            </a:ln>
          </p:spPr>
          <p:txBody>
            <a:bodyPr/>
            <a:lstStyle/>
            <a:p>
              <a:endParaRPr lang="en-US"/>
            </a:p>
          </p:txBody>
        </p:sp>
        <p:sp>
          <p:nvSpPr>
            <p:cNvPr id="42100" name="Rectangle 107"/>
            <p:cNvSpPr>
              <a:spLocks noChangeArrowheads="1"/>
            </p:cNvSpPr>
            <p:nvPr/>
          </p:nvSpPr>
          <p:spPr bwMode="auto">
            <a:xfrm>
              <a:off x="3857" y="1977"/>
              <a:ext cx="144" cy="108"/>
            </a:xfrm>
            <a:prstGeom prst="rect">
              <a:avLst/>
            </a:prstGeom>
            <a:noFill/>
            <a:ln w="9525">
              <a:noFill/>
              <a:miter lim="800000"/>
              <a:headEnd/>
              <a:tailEnd/>
            </a:ln>
          </p:spPr>
          <p:txBody>
            <a:bodyPr wrap="none" lIns="0" tIns="0" rIns="0" bIns="0">
              <a:spAutoFit/>
            </a:bodyPr>
            <a:lstStyle/>
            <a:p>
              <a:r>
                <a:rPr lang="en-US" sz="1000">
                  <a:solidFill>
                    <a:srgbClr val="000000"/>
                  </a:solidFill>
                </a:rPr>
                <a:t>SK</a:t>
              </a:r>
              <a:endParaRPr lang="en-US"/>
            </a:p>
          </p:txBody>
        </p:sp>
        <p:sp>
          <p:nvSpPr>
            <p:cNvPr id="42101" name="Freeform 109"/>
            <p:cNvSpPr>
              <a:spLocks noEditPoints="1"/>
            </p:cNvSpPr>
            <p:nvPr/>
          </p:nvSpPr>
          <p:spPr bwMode="auto">
            <a:xfrm>
              <a:off x="3423" y="2055"/>
              <a:ext cx="288" cy="270"/>
            </a:xfrm>
            <a:custGeom>
              <a:avLst/>
              <a:gdLst>
                <a:gd name="T0" fmla="*/ 0 w 1024"/>
                <a:gd name="T1" fmla="*/ 8 h 960"/>
                <a:gd name="T2" fmla="*/ 1 w 1024"/>
                <a:gd name="T3" fmla="*/ 6 h 960"/>
                <a:gd name="T4" fmla="*/ 3 w 1024"/>
                <a:gd name="T5" fmla="*/ 3 h 960"/>
                <a:gd name="T6" fmla="*/ 5 w 1024"/>
                <a:gd name="T7" fmla="*/ 2 h 960"/>
                <a:gd name="T8" fmla="*/ 9 w 1024"/>
                <a:gd name="T9" fmla="*/ 0 h 960"/>
                <a:gd name="T10" fmla="*/ 11 w 1024"/>
                <a:gd name="T11" fmla="*/ 0 h 960"/>
                <a:gd name="T12" fmla="*/ 16 w 1024"/>
                <a:gd name="T13" fmla="*/ 1 h 960"/>
                <a:gd name="T14" fmla="*/ 18 w 1024"/>
                <a:gd name="T15" fmla="*/ 2 h 960"/>
                <a:gd name="T16" fmla="*/ 21 w 1024"/>
                <a:gd name="T17" fmla="*/ 5 h 960"/>
                <a:gd name="T18" fmla="*/ 22 w 1024"/>
                <a:gd name="T19" fmla="*/ 6 h 960"/>
                <a:gd name="T20" fmla="*/ 23 w 1024"/>
                <a:gd name="T21" fmla="*/ 11 h 960"/>
                <a:gd name="T22" fmla="*/ 22 w 1024"/>
                <a:gd name="T23" fmla="*/ 13 h 960"/>
                <a:gd name="T24" fmla="*/ 21 w 1024"/>
                <a:gd name="T25" fmla="*/ 17 h 960"/>
                <a:gd name="T26" fmla="*/ 19 w 1024"/>
                <a:gd name="T27" fmla="*/ 18 h 960"/>
                <a:gd name="T28" fmla="*/ 16 w 1024"/>
                <a:gd name="T29" fmla="*/ 21 h 960"/>
                <a:gd name="T30" fmla="*/ 14 w 1024"/>
                <a:gd name="T31" fmla="*/ 21 h 960"/>
                <a:gd name="T32" fmla="*/ 9 w 1024"/>
                <a:gd name="T33" fmla="*/ 21 h 960"/>
                <a:gd name="T34" fmla="*/ 7 w 1024"/>
                <a:gd name="T35" fmla="*/ 21 h 960"/>
                <a:gd name="T36" fmla="*/ 3 w 1024"/>
                <a:gd name="T37" fmla="*/ 18 h 960"/>
                <a:gd name="T38" fmla="*/ 2 w 1024"/>
                <a:gd name="T39" fmla="*/ 17 h 960"/>
                <a:gd name="T40" fmla="*/ 0 w 1024"/>
                <a:gd name="T41" fmla="*/ 13 h 960"/>
                <a:gd name="T42" fmla="*/ 1 w 1024"/>
                <a:gd name="T43" fmla="*/ 13 h 960"/>
                <a:gd name="T44" fmla="*/ 1 w 1024"/>
                <a:gd name="T45" fmla="*/ 15 h 960"/>
                <a:gd name="T46" fmla="*/ 4 w 1024"/>
                <a:gd name="T47" fmla="*/ 18 h 960"/>
                <a:gd name="T48" fmla="*/ 5 w 1024"/>
                <a:gd name="T49" fmla="*/ 19 h 960"/>
                <a:gd name="T50" fmla="*/ 9 w 1024"/>
                <a:gd name="T51" fmla="*/ 21 h 960"/>
                <a:gd name="T52" fmla="*/ 11 w 1024"/>
                <a:gd name="T53" fmla="*/ 21 h 960"/>
                <a:gd name="T54" fmla="*/ 16 w 1024"/>
                <a:gd name="T55" fmla="*/ 20 h 960"/>
                <a:gd name="T56" fmla="*/ 17 w 1024"/>
                <a:gd name="T57" fmla="*/ 19 h 960"/>
                <a:gd name="T58" fmla="*/ 21 w 1024"/>
                <a:gd name="T59" fmla="*/ 17 h 960"/>
                <a:gd name="T60" fmla="*/ 22 w 1024"/>
                <a:gd name="T61" fmla="*/ 15 h 960"/>
                <a:gd name="T62" fmla="*/ 22 w 1024"/>
                <a:gd name="T63" fmla="*/ 11 h 960"/>
                <a:gd name="T64" fmla="*/ 22 w 1024"/>
                <a:gd name="T65" fmla="*/ 9 h 960"/>
                <a:gd name="T66" fmla="*/ 21 w 1024"/>
                <a:gd name="T67" fmla="*/ 5 h 960"/>
                <a:gd name="T68" fmla="*/ 19 w 1024"/>
                <a:gd name="T69" fmla="*/ 3 h 960"/>
                <a:gd name="T70" fmla="*/ 16 w 1024"/>
                <a:gd name="T71" fmla="*/ 1 h 960"/>
                <a:gd name="T72" fmla="*/ 14 w 1024"/>
                <a:gd name="T73" fmla="*/ 1 h 960"/>
                <a:gd name="T74" fmla="*/ 9 w 1024"/>
                <a:gd name="T75" fmla="*/ 1 h 960"/>
                <a:gd name="T76" fmla="*/ 7 w 1024"/>
                <a:gd name="T77" fmla="*/ 1 h 960"/>
                <a:gd name="T78" fmla="*/ 4 w 1024"/>
                <a:gd name="T79" fmla="*/ 3 h 960"/>
                <a:gd name="T80" fmla="*/ 2 w 1024"/>
                <a:gd name="T81" fmla="*/ 5 h 960"/>
                <a:gd name="T82" fmla="*/ 1 w 1024"/>
                <a:gd name="T83" fmla="*/ 9 h 960"/>
                <a:gd name="T84" fmla="*/ 0 w 1024"/>
                <a:gd name="T85" fmla="*/ 11 h 9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24"/>
                <a:gd name="T130" fmla="*/ 0 h 960"/>
                <a:gd name="T131" fmla="*/ 1024 w 1024"/>
                <a:gd name="T132" fmla="*/ 960 h 9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24" h="960">
                  <a:moveTo>
                    <a:pt x="1" y="481"/>
                  </a:moveTo>
                  <a:cubicBezTo>
                    <a:pt x="0" y="481"/>
                    <a:pt x="0" y="480"/>
                    <a:pt x="1" y="480"/>
                  </a:cubicBezTo>
                  <a:lnTo>
                    <a:pt x="10" y="385"/>
                  </a:lnTo>
                  <a:cubicBezTo>
                    <a:pt x="11" y="384"/>
                    <a:pt x="11" y="383"/>
                    <a:pt x="11" y="383"/>
                  </a:cubicBezTo>
                  <a:lnTo>
                    <a:pt x="41" y="295"/>
                  </a:lnTo>
                  <a:cubicBezTo>
                    <a:pt x="41" y="294"/>
                    <a:pt x="41" y="294"/>
                    <a:pt x="42" y="294"/>
                  </a:cubicBezTo>
                  <a:lnTo>
                    <a:pt x="88" y="213"/>
                  </a:lnTo>
                  <a:cubicBezTo>
                    <a:pt x="88" y="212"/>
                    <a:pt x="88" y="212"/>
                    <a:pt x="89" y="211"/>
                  </a:cubicBezTo>
                  <a:lnTo>
                    <a:pt x="151" y="142"/>
                  </a:lnTo>
                  <a:cubicBezTo>
                    <a:pt x="151" y="142"/>
                    <a:pt x="151" y="141"/>
                    <a:pt x="152" y="141"/>
                  </a:cubicBezTo>
                  <a:lnTo>
                    <a:pt x="226" y="83"/>
                  </a:lnTo>
                  <a:cubicBezTo>
                    <a:pt x="226" y="83"/>
                    <a:pt x="226" y="83"/>
                    <a:pt x="227" y="82"/>
                  </a:cubicBezTo>
                  <a:lnTo>
                    <a:pt x="313" y="38"/>
                  </a:lnTo>
                  <a:cubicBezTo>
                    <a:pt x="313" y="38"/>
                    <a:pt x="314" y="38"/>
                    <a:pt x="314" y="38"/>
                  </a:cubicBezTo>
                  <a:lnTo>
                    <a:pt x="409" y="11"/>
                  </a:lnTo>
                  <a:cubicBezTo>
                    <a:pt x="410" y="11"/>
                    <a:pt x="410" y="11"/>
                    <a:pt x="411" y="10"/>
                  </a:cubicBezTo>
                  <a:lnTo>
                    <a:pt x="512" y="0"/>
                  </a:lnTo>
                  <a:cubicBezTo>
                    <a:pt x="512" y="0"/>
                    <a:pt x="513" y="0"/>
                    <a:pt x="513" y="0"/>
                  </a:cubicBezTo>
                  <a:lnTo>
                    <a:pt x="615" y="10"/>
                  </a:lnTo>
                  <a:cubicBezTo>
                    <a:pt x="616" y="11"/>
                    <a:pt x="616" y="11"/>
                    <a:pt x="617" y="11"/>
                  </a:cubicBezTo>
                  <a:lnTo>
                    <a:pt x="711" y="38"/>
                  </a:lnTo>
                  <a:cubicBezTo>
                    <a:pt x="711" y="38"/>
                    <a:pt x="712" y="38"/>
                    <a:pt x="712" y="38"/>
                  </a:cubicBezTo>
                  <a:lnTo>
                    <a:pt x="798" y="82"/>
                  </a:lnTo>
                  <a:cubicBezTo>
                    <a:pt x="799" y="83"/>
                    <a:pt x="799" y="83"/>
                    <a:pt x="799" y="83"/>
                  </a:cubicBezTo>
                  <a:lnTo>
                    <a:pt x="874" y="141"/>
                  </a:lnTo>
                  <a:cubicBezTo>
                    <a:pt x="875" y="141"/>
                    <a:pt x="875" y="142"/>
                    <a:pt x="875" y="142"/>
                  </a:cubicBezTo>
                  <a:lnTo>
                    <a:pt x="936" y="211"/>
                  </a:lnTo>
                  <a:cubicBezTo>
                    <a:pt x="937" y="212"/>
                    <a:pt x="937" y="212"/>
                    <a:pt x="937" y="213"/>
                  </a:cubicBezTo>
                  <a:lnTo>
                    <a:pt x="983" y="294"/>
                  </a:lnTo>
                  <a:cubicBezTo>
                    <a:pt x="984" y="294"/>
                    <a:pt x="984" y="294"/>
                    <a:pt x="984" y="295"/>
                  </a:cubicBezTo>
                  <a:lnTo>
                    <a:pt x="1014" y="383"/>
                  </a:lnTo>
                  <a:cubicBezTo>
                    <a:pt x="1014" y="383"/>
                    <a:pt x="1014" y="384"/>
                    <a:pt x="1014" y="385"/>
                  </a:cubicBezTo>
                  <a:lnTo>
                    <a:pt x="1024" y="480"/>
                  </a:lnTo>
                  <a:cubicBezTo>
                    <a:pt x="1024" y="480"/>
                    <a:pt x="1024" y="481"/>
                    <a:pt x="1024" y="481"/>
                  </a:cubicBezTo>
                  <a:lnTo>
                    <a:pt x="1014" y="576"/>
                  </a:lnTo>
                  <a:cubicBezTo>
                    <a:pt x="1014" y="577"/>
                    <a:pt x="1014" y="577"/>
                    <a:pt x="1014" y="578"/>
                  </a:cubicBezTo>
                  <a:lnTo>
                    <a:pt x="984" y="667"/>
                  </a:lnTo>
                  <a:cubicBezTo>
                    <a:pt x="984" y="668"/>
                    <a:pt x="984" y="668"/>
                    <a:pt x="983" y="668"/>
                  </a:cubicBezTo>
                  <a:lnTo>
                    <a:pt x="937" y="748"/>
                  </a:lnTo>
                  <a:cubicBezTo>
                    <a:pt x="937" y="749"/>
                    <a:pt x="937" y="749"/>
                    <a:pt x="937" y="750"/>
                  </a:cubicBezTo>
                  <a:lnTo>
                    <a:pt x="876" y="820"/>
                  </a:lnTo>
                  <a:cubicBezTo>
                    <a:pt x="875" y="820"/>
                    <a:pt x="875" y="821"/>
                    <a:pt x="874" y="821"/>
                  </a:cubicBezTo>
                  <a:lnTo>
                    <a:pt x="799" y="878"/>
                  </a:lnTo>
                  <a:cubicBezTo>
                    <a:pt x="799" y="878"/>
                    <a:pt x="799" y="878"/>
                    <a:pt x="798" y="879"/>
                  </a:cubicBezTo>
                  <a:lnTo>
                    <a:pt x="712" y="923"/>
                  </a:lnTo>
                  <a:cubicBezTo>
                    <a:pt x="712" y="923"/>
                    <a:pt x="711" y="923"/>
                    <a:pt x="711" y="923"/>
                  </a:cubicBezTo>
                  <a:lnTo>
                    <a:pt x="617" y="950"/>
                  </a:lnTo>
                  <a:cubicBezTo>
                    <a:pt x="616" y="950"/>
                    <a:pt x="616" y="950"/>
                    <a:pt x="615" y="950"/>
                  </a:cubicBezTo>
                  <a:lnTo>
                    <a:pt x="513" y="960"/>
                  </a:lnTo>
                  <a:cubicBezTo>
                    <a:pt x="513" y="960"/>
                    <a:pt x="512" y="960"/>
                    <a:pt x="512" y="960"/>
                  </a:cubicBezTo>
                  <a:lnTo>
                    <a:pt x="411" y="950"/>
                  </a:lnTo>
                  <a:cubicBezTo>
                    <a:pt x="410" y="950"/>
                    <a:pt x="410" y="950"/>
                    <a:pt x="409" y="950"/>
                  </a:cubicBezTo>
                  <a:lnTo>
                    <a:pt x="314" y="923"/>
                  </a:lnTo>
                  <a:cubicBezTo>
                    <a:pt x="314" y="923"/>
                    <a:pt x="313" y="923"/>
                    <a:pt x="313" y="923"/>
                  </a:cubicBezTo>
                  <a:lnTo>
                    <a:pt x="227" y="879"/>
                  </a:lnTo>
                  <a:cubicBezTo>
                    <a:pt x="226" y="878"/>
                    <a:pt x="226" y="878"/>
                    <a:pt x="226" y="878"/>
                  </a:cubicBezTo>
                  <a:lnTo>
                    <a:pt x="152" y="821"/>
                  </a:lnTo>
                  <a:cubicBezTo>
                    <a:pt x="151" y="821"/>
                    <a:pt x="151" y="820"/>
                    <a:pt x="150" y="820"/>
                  </a:cubicBezTo>
                  <a:lnTo>
                    <a:pt x="88" y="750"/>
                  </a:lnTo>
                  <a:cubicBezTo>
                    <a:pt x="88" y="749"/>
                    <a:pt x="88" y="749"/>
                    <a:pt x="88" y="748"/>
                  </a:cubicBezTo>
                  <a:lnTo>
                    <a:pt x="42" y="668"/>
                  </a:lnTo>
                  <a:cubicBezTo>
                    <a:pt x="41" y="668"/>
                    <a:pt x="41" y="668"/>
                    <a:pt x="41" y="667"/>
                  </a:cubicBezTo>
                  <a:lnTo>
                    <a:pt x="11" y="578"/>
                  </a:lnTo>
                  <a:cubicBezTo>
                    <a:pt x="11" y="577"/>
                    <a:pt x="11" y="577"/>
                    <a:pt x="10" y="576"/>
                  </a:cubicBezTo>
                  <a:lnTo>
                    <a:pt x="1" y="481"/>
                  </a:lnTo>
                  <a:close/>
                  <a:moveTo>
                    <a:pt x="26" y="575"/>
                  </a:moveTo>
                  <a:lnTo>
                    <a:pt x="26" y="573"/>
                  </a:lnTo>
                  <a:lnTo>
                    <a:pt x="56" y="662"/>
                  </a:lnTo>
                  <a:lnTo>
                    <a:pt x="55" y="660"/>
                  </a:lnTo>
                  <a:lnTo>
                    <a:pt x="101" y="740"/>
                  </a:lnTo>
                  <a:lnTo>
                    <a:pt x="100" y="739"/>
                  </a:lnTo>
                  <a:lnTo>
                    <a:pt x="162" y="809"/>
                  </a:lnTo>
                  <a:lnTo>
                    <a:pt x="161" y="808"/>
                  </a:lnTo>
                  <a:lnTo>
                    <a:pt x="235" y="865"/>
                  </a:lnTo>
                  <a:lnTo>
                    <a:pt x="234" y="864"/>
                  </a:lnTo>
                  <a:lnTo>
                    <a:pt x="320" y="908"/>
                  </a:lnTo>
                  <a:lnTo>
                    <a:pt x="319" y="908"/>
                  </a:lnTo>
                  <a:lnTo>
                    <a:pt x="414" y="935"/>
                  </a:lnTo>
                  <a:lnTo>
                    <a:pt x="412" y="934"/>
                  </a:lnTo>
                  <a:lnTo>
                    <a:pt x="513" y="944"/>
                  </a:lnTo>
                  <a:lnTo>
                    <a:pt x="512" y="944"/>
                  </a:lnTo>
                  <a:lnTo>
                    <a:pt x="614" y="934"/>
                  </a:lnTo>
                  <a:lnTo>
                    <a:pt x="612" y="935"/>
                  </a:lnTo>
                  <a:lnTo>
                    <a:pt x="706" y="908"/>
                  </a:lnTo>
                  <a:lnTo>
                    <a:pt x="705" y="908"/>
                  </a:lnTo>
                  <a:lnTo>
                    <a:pt x="791" y="864"/>
                  </a:lnTo>
                  <a:lnTo>
                    <a:pt x="790" y="865"/>
                  </a:lnTo>
                  <a:lnTo>
                    <a:pt x="865" y="808"/>
                  </a:lnTo>
                  <a:lnTo>
                    <a:pt x="863" y="809"/>
                  </a:lnTo>
                  <a:lnTo>
                    <a:pt x="924" y="739"/>
                  </a:lnTo>
                  <a:lnTo>
                    <a:pt x="924" y="740"/>
                  </a:lnTo>
                  <a:lnTo>
                    <a:pt x="970" y="660"/>
                  </a:lnTo>
                  <a:lnTo>
                    <a:pt x="969" y="662"/>
                  </a:lnTo>
                  <a:lnTo>
                    <a:pt x="999" y="573"/>
                  </a:lnTo>
                  <a:lnTo>
                    <a:pt x="998" y="575"/>
                  </a:lnTo>
                  <a:lnTo>
                    <a:pt x="1009" y="480"/>
                  </a:lnTo>
                  <a:lnTo>
                    <a:pt x="1009" y="481"/>
                  </a:lnTo>
                  <a:lnTo>
                    <a:pt x="998" y="386"/>
                  </a:lnTo>
                  <a:lnTo>
                    <a:pt x="999" y="388"/>
                  </a:lnTo>
                  <a:lnTo>
                    <a:pt x="969" y="300"/>
                  </a:lnTo>
                  <a:lnTo>
                    <a:pt x="970" y="301"/>
                  </a:lnTo>
                  <a:lnTo>
                    <a:pt x="924" y="220"/>
                  </a:lnTo>
                  <a:lnTo>
                    <a:pt x="924" y="222"/>
                  </a:lnTo>
                  <a:lnTo>
                    <a:pt x="863" y="153"/>
                  </a:lnTo>
                  <a:lnTo>
                    <a:pt x="865" y="154"/>
                  </a:lnTo>
                  <a:lnTo>
                    <a:pt x="790" y="96"/>
                  </a:lnTo>
                  <a:lnTo>
                    <a:pt x="791" y="97"/>
                  </a:lnTo>
                  <a:lnTo>
                    <a:pt x="705" y="53"/>
                  </a:lnTo>
                  <a:lnTo>
                    <a:pt x="706" y="53"/>
                  </a:lnTo>
                  <a:lnTo>
                    <a:pt x="612" y="26"/>
                  </a:lnTo>
                  <a:lnTo>
                    <a:pt x="614" y="26"/>
                  </a:lnTo>
                  <a:lnTo>
                    <a:pt x="512" y="16"/>
                  </a:lnTo>
                  <a:lnTo>
                    <a:pt x="513" y="16"/>
                  </a:lnTo>
                  <a:lnTo>
                    <a:pt x="412" y="26"/>
                  </a:lnTo>
                  <a:lnTo>
                    <a:pt x="414" y="26"/>
                  </a:lnTo>
                  <a:lnTo>
                    <a:pt x="319" y="53"/>
                  </a:lnTo>
                  <a:lnTo>
                    <a:pt x="320" y="53"/>
                  </a:lnTo>
                  <a:lnTo>
                    <a:pt x="234" y="97"/>
                  </a:lnTo>
                  <a:lnTo>
                    <a:pt x="235" y="96"/>
                  </a:lnTo>
                  <a:lnTo>
                    <a:pt x="161" y="154"/>
                  </a:lnTo>
                  <a:lnTo>
                    <a:pt x="162" y="153"/>
                  </a:lnTo>
                  <a:lnTo>
                    <a:pt x="100" y="222"/>
                  </a:lnTo>
                  <a:lnTo>
                    <a:pt x="101" y="220"/>
                  </a:lnTo>
                  <a:lnTo>
                    <a:pt x="55" y="301"/>
                  </a:lnTo>
                  <a:lnTo>
                    <a:pt x="56" y="300"/>
                  </a:lnTo>
                  <a:lnTo>
                    <a:pt x="26" y="388"/>
                  </a:lnTo>
                  <a:lnTo>
                    <a:pt x="26" y="386"/>
                  </a:lnTo>
                  <a:lnTo>
                    <a:pt x="16" y="481"/>
                  </a:lnTo>
                  <a:lnTo>
                    <a:pt x="16" y="480"/>
                  </a:lnTo>
                  <a:lnTo>
                    <a:pt x="26" y="575"/>
                  </a:lnTo>
                  <a:close/>
                </a:path>
              </a:pathLst>
            </a:custGeom>
            <a:solidFill>
              <a:srgbClr val="000000"/>
            </a:solidFill>
            <a:ln w="0">
              <a:solidFill>
                <a:srgbClr val="000000"/>
              </a:solidFill>
              <a:round/>
              <a:headEnd/>
              <a:tailEnd/>
            </a:ln>
          </p:spPr>
          <p:txBody>
            <a:bodyPr/>
            <a:lstStyle/>
            <a:p>
              <a:endParaRPr lang="en-US"/>
            </a:p>
          </p:txBody>
        </p:sp>
        <p:sp>
          <p:nvSpPr>
            <p:cNvPr id="42102" name="Freeform 111"/>
            <p:cNvSpPr>
              <a:spLocks noEditPoints="1"/>
            </p:cNvSpPr>
            <p:nvPr/>
          </p:nvSpPr>
          <p:spPr bwMode="auto">
            <a:xfrm>
              <a:off x="3423" y="2055"/>
              <a:ext cx="288" cy="270"/>
            </a:xfrm>
            <a:custGeom>
              <a:avLst/>
              <a:gdLst>
                <a:gd name="T0" fmla="*/ 0 w 1024"/>
                <a:gd name="T1" fmla="*/ 8 h 960"/>
                <a:gd name="T2" fmla="*/ 1 w 1024"/>
                <a:gd name="T3" fmla="*/ 6 h 960"/>
                <a:gd name="T4" fmla="*/ 3 w 1024"/>
                <a:gd name="T5" fmla="*/ 3 h 960"/>
                <a:gd name="T6" fmla="*/ 5 w 1024"/>
                <a:gd name="T7" fmla="*/ 2 h 960"/>
                <a:gd name="T8" fmla="*/ 9 w 1024"/>
                <a:gd name="T9" fmla="*/ 0 h 960"/>
                <a:gd name="T10" fmla="*/ 11 w 1024"/>
                <a:gd name="T11" fmla="*/ 0 h 960"/>
                <a:gd name="T12" fmla="*/ 16 w 1024"/>
                <a:gd name="T13" fmla="*/ 1 h 960"/>
                <a:gd name="T14" fmla="*/ 18 w 1024"/>
                <a:gd name="T15" fmla="*/ 2 h 960"/>
                <a:gd name="T16" fmla="*/ 21 w 1024"/>
                <a:gd name="T17" fmla="*/ 5 h 960"/>
                <a:gd name="T18" fmla="*/ 22 w 1024"/>
                <a:gd name="T19" fmla="*/ 6 h 960"/>
                <a:gd name="T20" fmla="*/ 23 w 1024"/>
                <a:gd name="T21" fmla="*/ 11 h 960"/>
                <a:gd name="T22" fmla="*/ 22 w 1024"/>
                <a:gd name="T23" fmla="*/ 13 h 960"/>
                <a:gd name="T24" fmla="*/ 21 w 1024"/>
                <a:gd name="T25" fmla="*/ 17 h 960"/>
                <a:gd name="T26" fmla="*/ 19 w 1024"/>
                <a:gd name="T27" fmla="*/ 18 h 960"/>
                <a:gd name="T28" fmla="*/ 16 w 1024"/>
                <a:gd name="T29" fmla="*/ 21 h 960"/>
                <a:gd name="T30" fmla="*/ 14 w 1024"/>
                <a:gd name="T31" fmla="*/ 21 h 960"/>
                <a:gd name="T32" fmla="*/ 9 w 1024"/>
                <a:gd name="T33" fmla="*/ 21 h 960"/>
                <a:gd name="T34" fmla="*/ 7 w 1024"/>
                <a:gd name="T35" fmla="*/ 21 h 960"/>
                <a:gd name="T36" fmla="*/ 3 w 1024"/>
                <a:gd name="T37" fmla="*/ 18 h 960"/>
                <a:gd name="T38" fmla="*/ 2 w 1024"/>
                <a:gd name="T39" fmla="*/ 17 h 960"/>
                <a:gd name="T40" fmla="*/ 0 w 1024"/>
                <a:gd name="T41" fmla="*/ 13 h 960"/>
                <a:gd name="T42" fmla="*/ 1 w 1024"/>
                <a:gd name="T43" fmla="*/ 13 h 960"/>
                <a:gd name="T44" fmla="*/ 1 w 1024"/>
                <a:gd name="T45" fmla="*/ 15 h 960"/>
                <a:gd name="T46" fmla="*/ 4 w 1024"/>
                <a:gd name="T47" fmla="*/ 18 h 960"/>
                <a:gd name="T48" fmla="*/ 5 w 1024"/>
                <a:gd name="T49" fmla="*/ 19 h 960"/>
                <a:gd name="T50" fmla="*/ 9 w 1024"/>
                <a:gd name="T51" fmla="*/ 21 h 960"/>
                <a:gd name="T52" fmla="*/ 11 w 1024"/>
                <a:gd name="T53" fmla="*/ 21 h 960"/>
                <a:gd name="T54" fmla="*/ 16 w 1024"/>
                <a:gd name="T55" fmla="*/ 20 h 960"/>
                <a:gd name="T56" fmla="*/ 17 w 1024"/>
                <a:gd name="T57" fmla="*/ 19 h 960"/>
                <a:gd name="T58" fmla="*/ 21 w 1024"/>
                <a:gd name="T59" fmla="*/ 17 h 960"/>
                <a:gd name="T60" fmla="*/ 22 w 1024"/>
                <a:gd name="T61" fmla="*/ 15 h 960"/>
                <a:gd name="T62" fmla="*/ 22 w 1024"/>
                <a:gd name="T63" fmla="*/ 11 h 960"/>
                <a:gd name="T64" fmla="*/ 22 w 1024"/>
                <a:gd name="T65" fmla="*/ 9 h 960"/>
                <a:gd name="T66" fmla="*/ 21 w 1024"/>
                <a:gd name="T67" fmla="*/ 5 h 960"/>
                <a:gd name="T68" fmla="*/ 19 w 1024"/>
                <a:gd name="T69" fmla="*/ 3 h 960"/>
                <a:gd name="T70" fmla="*/ 16 w 1024"/>
                <a:gd name="T71" fmla="*/ 1 h 960"/>
                <a:gd name="T72" fmla="*/ 14 w 1024"/>
                <a:gd name="T73" fmla="*/ 1 h 960"/>
                <a:gd name="T74" fmla="*/ 9 w 1024"/>
                <a:gd name="T75" fmla="*/ 1 h 960"/>
                <a:gd name="T76" fmla="*/ 7 w 1024"/>
                <a:gd name="T77" fmla="*/ 1 h 960"/>
                <a:gd name="T78" fmla="*/ 4 w 1024"/>
                <a:gd name="T79" fmla="*/ 3 h 960"/>
                <a:gd name="T80" fmla="*/ 2 w 1024"/>
                <a:gd name="T81" fmla="*/ 5 h 960"/>
                <a:gd name="T82" fmla="*/ 1 w 1024"/>
                <a:gd name="T83" fmla="*/ 9 h 960"/>
                <a:gd name="T84" fmla="*/ 0 w 1024"/>
                <a:gd name="T85" fmla="*/ 11 h 9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24"/>
                <a:gd name="T130" fmla="*/ 0 h 960"/>
                <a:gd name="T131" fmla="*/ 1024 w 1024"/>
                <a:gd name="T132" fmla="*/ 960 h 9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24" h="960">
                  <a:moveTo>
                    <a:pt x="1" y="481"/>
                  </a:moveTo>
                  <a:cubicBezTo>
                    <a:pt x="0" y="481"/>
                    <a:pt x="0" y="480"/>
                    <a:pt x="1" y="480"/>
                  </a:cubicBezTo>
                  <a:lnTo>
                    <a:pt x="10" y="385"/>
                  </a:lnTo>
                  <a:cubicBezTo>
                    <a:pt x="11" y="384"/>
                    <a:pt x="11" y="383"/>
                    <a:pt x="11" y="383"/>
                  </a:cubicBezTo>
                  <a:lnTo>
                    <a:pt x="41" y="295"/>
                  </a:lnTo>
                  <a:cubicBezTo>
                    <a:pt x="41" y="294"/>
                    <a:pt x="41" y="294"/>
                    <a:pt x="42" y="294"/>
                  </a:cubicBezTo>
                  <a:lnTo>
                    <a:pt x="88" y="213"/>
                  </a:lnTo>
                  <a:cubicBezTo>
                    <a:pt x="88" y="212"/>
                    <a:pt x="88" y="212"/>
                    <a:pt x="89" y="211"/>
                  </a:cubicBezTo>
                  <a:lnTo>
                    <a:pt x="151" y="142"/>
                  </a:lnTo>
                  <a:cubicBezTo>
                    <a:pt x="151" y="142"/>
                    <a:pt x="151" y="141"/>
                    <a:pt x="152" y="141"/>
                  </a:cubicBezTo>
                  <a:lnTo>
                    <a:pt x="226" y="83"/>
                  </a:lnTo>
                  <a:cubicBezTo>
                    <a:pt x="226" y="83"/>
                    <a:pt x="226" y="83"/>
                    <a:pt x="227" y="82"/>
                  </a:cubicBezTo>
                  <a:lnTo>
                    <a:pt x="313" y="38"/>
                  </a:lnTo>
                  <a:cubicBezTo>
                    <a:pt x="313" y="38"/>
                    <a:pt x="314" y="38"/>
                    <a:pt x="314" y="38"/>
                  </a:cubicBezTo>
                  <a:lnTo>
                    <a:pt x="409" y="11"/>
                  </a:lnTo>
                  <a:cubicBezTo>
                    <a:pt x="410" y="11"/>
                    <a:pt x="410" y="11"/>
                    <a:pt x="411" y="10"/>
                  </a:cubicBezTo>
                  <a:lnTo>
                    <a:pt x="512" y="0"/>
                  </a:lnTo>
                  <a:cubicBezTo>
                    <a:pt x="512" y="0"/>
                    <a:pt x="513" y="0"/>
                    <a:pt x="513" y="0"/>
                  </a:cubicBezTo>
                  <a:lnTo>
                    <a:pt x="615" y="10"/>
                  </a:lnTo>
                  <a:cubicBezTo>
                    <a:pt x="616" y="11"/>
                    <a:pt x="616" y="11"/>
                    <a:pt x="617" y="11"/>
                  </a:cubicBezTo>
                  <a:lnTo>
                    <a:pt x="711" y="38"/>
                  </a:lnTo>
                  <a:cubicBezTo>
                    <a:pt x="711" y="38"/>
                    <a:pt x="712" y="38"/>
                    <a:pt x="712" y="38"/>
                  </a:cubicBezTo>
                  <a:lnTo>
                    <a:pt x="798" y="82"/>
                  </a:lnTo>
                  <a:cubicBezTo>
                    <a:pt x="799" y="83"/>
                    <a:pt x="799" y="83"/>
                    <a:pt x="799" y="83"/>
                  </a:cubicBezTo>
                  <a:lnTo>
                    <a:pt x="874" y="141"/>
                  </a:lnTo>
                  <a:cubicBezTo>
                    <a:pt x="875" y="141"/>
                    <a:pt x="875" y="142"/>
                    <a:pt x="875" y="142"/>
                  </a:cubicBezTo>
                  <a:lnTo>
                    <a:pt x="936" y="211"/>
                  </a:lnTo>
                  <a:cubicBezTo>
                    <a:pt x="937" y="212"/>
                    <a:pt x="937" y="212"/>
                    <a:pt x="937" y="213"/>
                  </a:cubicBezTo>
                  <a:lnTo>
                    <a:pt x="983" y="294"/>
                  </a:lnTo>
                  <a:cubicBezTo>
                    <a:pt x="984" y="294"/>
                    <a:pt x="984" y="294"/>
                    <a:pt x="984" y="295"/>
                  </a:cubicBezTo>
                  <a:lnTo>
                    <a:pt x="1014" y="383"/>
                  </a:lnTo>
                  <a:cubicBezTo>
                    <a:pt x="1014" y="383"/>
                    <a:pt x="1014" y="384"/>
                    <a:pt x="1014" y="385"/>
                  </a:cubicBezTo>
                  <a:lnTo>
                    <a:pt x="1024" y="480"/>
                  </a:lnTo>
                  <a:cubicBezTo>
                    <a:pt x="1024" y="480"/>
                    <a:pt x="1024" y="481"/>
                    <a:pt x="1024" y="481"/>
                  </a:cubicBezTo>
                  <a:lnTo>
                    <a:pt x="1014" y="576"/>
                  </a:lnTo>
                  <a:cubicBezTo>
                    <a:pt x="1014" y="577"/>
                    <a:pt x="1014" y="577"/>
                    <a:pt x="1014" y="578"/>
                  </a:cubicBezTo>
                  <a:lnTo>
                    <a:pt x="984" y="667"/>
                  </a:lnTo>
                  <a:cubicBezTo>
                    <a:pt x="984" y="668"/>
                    <a:pt x="984" y="668"/>
                    <a:pt x="983" y="668"/>
                  </a:cubicBezTo>
                  <a:lnTo>
                    <a:pt x="937" y="748"/>
                  </a:lnTo>
                  <a:cubicBezTo>
                    <a:pt x="937" y="749"/>
                    <a:pt x="937" y="749"/>
                    <a:pt x="937" y="750"/>
                  </a:cubicBezTo>
                  <a:lnTo>
                    <a:pt x="876" y="820"/>
                  </a:lnTo>
                  <a:cubicBezTo>
                    <a:pt x="875" y="820"/>
                    <a:pt x="875" y="821"/>
                    <a:pt x="874" y="821"/>
                  </a:cubicBezTo>
                  <a:lnTo>
                    <a:pt x="799" y="878"/>
                  </a:lnTo>
                  <a:cubicBezTo>
                    <a:pt x="799" y="878"/>
                    <a:pt x="799" y="878"/>
                    <a:pt x="798" y="879"/>
                  </a:cubicBezTo>
                  <a:lnTo>
                    <a:pt x="712" y="923"/>
                  </a:lnTo>
                  <a:cubicBezTo>
                    <a:pt x="712" y="923"/>
                    <a:pt x="711" y="923"/>
                    <a:pt x="711" y="923"/>
                  </a:cubicBezTo>
                  <a:lnTo>
                    <a:pt x="617" y="950"/>
                  </a:lnTo>
                  <a:cubicBezTo>
                    <a:pt x="616" y="950"/>
                    <a:pt x="616" y="950"/>
                    <a:pt x="615" y="950"/>
                  </a:cubicBezTo>
                  <a:lnTo>
                    <a:pt x="513" y="960"/>
                  </a:lnTo>
                  <a:cubicBezTo>
                    <a:pt x="513" y="960"/>
                    <a:pt x="512" y="960"/>
                    <a:pt x="512" y="960"/>
                  </a:cubicBezTo>
                  <a:lnTo>
                    <a:pt x="411" y="950"/>
                  </a:lnTo>
                  <a:cubicBezTo>
                    <a:pt x="410" y="950"/>
                    <a:pt x="410" y="950"/>
                    <a:pt x="409" y="950"/>
                  </a:cubicBezTo>
                  <a:lnTo>
                    <a:pt x="314" y="923"/>
                  </a:lnTo>
                  <a:cubicBezTo>
                    <a:pt x="314" y="923"/>
                    <a:pt x="313" y="923"/>
                    <a:pt x="313" y="923"/>
                  </a:cubicBezTo>
                  <a:lnTo>
                    <a:pt x="227" y="879"/>
                  </a:lnTo>
                  <a:cubicBezTo>
                    <a:pt x="226" y="878"/>
                    <a:pt x="226" y="878"/>
                    <a:pt x="226" y="878"/>
                  </a:cubicBezTo>
                  <a:lnTo>
                    <a:pt x="152" y="821"/>
                  </a:lnTo>
                  <a:cubicBezTo>
                    <a:pt x="151" y="821"/>
                    <a:pt x="151" y="820"/>
                    <a:pt x="150" y="820"/>
                  </a:cubicBezTo>
                  <a:lnTo>
                    <a:pt x="88" y="750"/>
                  </a:lnTo>
                  <a:cubicBezTo>
                    <a:pt x="88" y="749"/>
                    <a:pt x="88" y="749"/>
                    <a:pt x="88" y="748"/>
                  </a:cubicBezTo>
                  <a:lnTo>
                    <a:pt x="42" y="668"/>
                  </a:lnTo>
                  <a:cubicBezTo>
                    <a:pt x="41" y="668"/>
                    <a:pt x="41" y="668"/>
                    <a:pt x="41" y="667"/>
                  </a:cubicBezTo>
                  <a:lnTo>
                    <a:pt x="11" y="578"/>
                  </a:lnTo>
                  <a:cubicBezTo>
                    <a:pt x="11" y="577"/>
                    <a:pt x="11" y="577"/>
                    <a:pt x="10" y="576"/>
                  </a:cubicBezTo>
                  <a:lnTo>
                    <a:pt x="1" y="481"/>
                  </a:lnTo>
                  <a:close/>
                  <a:moveTo>
                    <a:pt x="26" y="575"/>
                  </a:moveTo>
                  <a:lnTo>
                    <a:pt x="26" y="573"/>
                  </a:lnTo>
                  <a:lnTo>
                    <a:pt x="56" y="662"/>
                  </a:lnTo>
                  <a:lnTo>
                    <a:pt x="55" y="660"/>
                  </a:lnTo>
                  <a:lnTo>
                    <a:pt x="101" y="740"/>
                  </a:lnTo>
                  <a:lnTo>
                    <a:pt x="100" y="739"/>
                  </a:lnTo>
                  <a:lnTo>
                    <a:pt x="162" y="809"/>
                  </a:lnTo>
                  <a:lnTo>
                    <a:pt x="161" y="808"/>
                  </a:lnTo>
                  <a:lnTo>
                    <a:pt x="235" y="865"/>
                  </a:lnTo>
                  <a:lnTo>
                    <a:pt x="234" y="864"/>
                  </a:lnTo>
                  <a:lnTo>
                    <a:pt x="320" y="908"/>
                  </a:lnTo>
                  <a:lnTo>
                    <a:pt x="319" y="908"/>
                  </a:lnTo>
                  <a:lnTo>
                    <a:pt x="414" y="935"/>
                  </a:lnTo>
                  <a:lnTo>
                    <a:pt x="412" y="934"/>
                  </a:lnTo>
                  <a:lnTo>
                    <a:pt x="513" y="944"/>
                  </a:lnTo>
                  <a:lnTo>
                    <a:pt x="512" y="944"/>
                  </a:lnTo>
                  <a:lnTo>
                    <a:pt x="614" y="934"/>
                  </a:lnTo>
                  <a:lnTo>
                    <a:pt x="612" y="935"/>
                  </a:lnTo>
                  <a:lnTo>
                    <a:pt x="706" y="908"/>
                  </a:lnTo>
                  <a:lnTo>
                    <a:pt x="705" y="908"/>
                  </a:lnTo>
                  <a:lnTo>
                    <a:pt x="791" y="864"/>
                  </a:lnTo>
                  <a:lnTo>
                    <a:pt x="790" y="865"/>
                  </a:lnTo>
                  <a:lnTo>
                    <a:pt x="865" y="808"/>
                  </a:lnTo>
                  <a:lnTo>
                    <a:pt x="863" y="809"/>
                  </a:lnTo>
                  <a:lnTo>
                    <a:pt x="924" y="739"/>
                  </a:lnTo>
                  <a:lnTo>
                    <a:pt x="924" y="740"/>
                  </a:lnTo>
                  <a:lnTo>
                    <a:pt x="970" y="660"/>
                  </a:lnTo>
                  <a:lnTo>
                    <a:pt x="969" y="662"/>
                  </a:lnTo>
                  <a:lnTo>
                    <a:pt x="999" y="573"/>
                  </a:lnTo>
                  <a:lnTo>
                    <a:pt x="998" y="575"/>
                  </a:lnTo>
                  <a:lnTo>
                    <a:pt x="1009" y="480"/>
                  </a:lnTo>
                  <a:lnTo>
                    <a:pt x="1009" y="481"/>
                  </a:lnTo>
                  <a:lnTo>
                    <a:pt x="998" y="386"/>
                  </a:lnTo>
                  <a:lnTo>
                    <a:pt x="999" y="388"/>
                  </a:lnTo>
                  <a:lnTo>
                    <a:pt x="969" y="300"/>
                  </a:lnTo>
                  <a:lnTo>
                    <a:pt x="970" y="301"/>
                  </a:lnTo>
                  <a:lnTo>
                    <a:pt x="924" y="220"/>
                  </a:lnTo>
                  <a:lnTo>
                    <a:pt x="924" y="222"/>
                  </a:lnTo>
                  <a:lnTo>
                    <a:pt x="863" y="153"/>
                  </a:lnTo>
                  <a:lnTo>
                    <a:pt x="865" y="154"/>
                  </a:lnTo>
                  <a:lnTo>
                    <a:pt x="790" y="96"/>
                  </a:lnTo>
                  <a:lnTo>
                    <a:pt x="791" y="97"/>
                  </a:lnTo>
                  <a:lnTo>
                    <a:pt x="705" y="53"/>
                  </a:lnTo>
                  <a:lnTo>
                    <a:pt x="706" y="53"/>
                  </a:lnTo>
                  <a:lnTo>
                    <a:pt x="612" y="26"/>
                  </a:lnTo>
                  <a:lnTo>
                    <a:pt x="614" y="26"/>
                  </a:lnTo>
                  <a:lnTo>
                    <a:pt x="512" y="16"/>
                  </a:lnTo>
                  <a:lnTo>
                    <a:pt x="513" y="16"/>
                  </a:lnTo>
                  <a:lnTo>
                    <a:pt x="412" y="26"/>
                  </a:lnTo>
                  <a:lnTo>
                    <a:pt x="414" y="26"/>
                  </a:lnTo>
                  <a:lnTo>
                    <a:pt x="319" y="53"/>
                  </a:lnTo>
                  <a:lnTo>
                    <a:pt x="320" y="53"/>
                  </a:lnTo>
                  <a:lnTo>
                    <a:pt x="234" y="97"/>
                  </a:lnTo>
                  <a:lnTo>
                    <a:pt x="235" y="96"/>
                  </a:lnTo>
                  <a:lnTo>
                    <a:pt x="161" y="154"/>
                  </a:lnTo>
                  <a:lnTo>
                    <a:pt x="162" y="153"/>
                  </a:lnTo>
                  <a:lnTo>
                    <a:pt x="100" y="222"/>
                  </a:lnTo>
                  <a:lnTo>
                    <a:pt x="101" y="220"/>
                  </a:lnTo>
                  <a:lnTo>
                    <a:pt x="55" y="301"/>
                  </a:lnTo>
                  <a:lnTo>
                    <a:pt x="56" y="300"/>
                  </a:lnTo>
                  <a:lnTo>
                    <a:pt x="26" y="388"/>
                  </a:lnTo>
                  <a:lnTo>
                    <a:pt x="26" y="386"/>
                  </a:lnTo>
                  <a:lnTo>
                    <a:pt x="16" y="481"/>
                  </a:lnTo>
                  <a:lnTo>
                    <a:pt x="16" y="480"/>
                  </a:lnTo>
                  <a:lnTo>
                    <a:pt x="26" y="575"/>
                  </a:lnTo>
                  <a:close/>
                </a:path>
              </a:pathLst>
            </a:custGeom>
            <a:solidFill>
              <a:srgbClr val="000000"/>
            </a:solidFill>
            <a:ln w="0">
              <a:solidFill>
                <a:srgbClr val="000000"/>
              </a:solidFill>
              <a:round/>
              <a:headEnd/>
              <a:tailEnd/>
            </a:ln>
          </p:spPr>
          <p:txBody>
            <a:bodyPr/>
            <a:lstStyle/>
            <a:p>
              <a:endParaRPr lang="en-US"/>
            </a:p>
          </p:txBody>
        </p:sp>
        <p:sp>
          <p:nvSpPr>
            <p:cNvPr id="42103" name="Rectangle 112"/>
            <p:cNvSpPr>
              <a:spLocks noChangeArrowheads="1"/>
            </p:cNvSpPr>
            <p:nvPr/>
          </p:nvSpPr>
          <p:spPr bwMode="auto">
            <a:xfrm>
              <a:off x="3538" y="2151"/>
              <a:ext cx="95" cy="108"/>
            </a:xfrm>
            <a:prstGeom prst="rect">
              <a:avLst/>
            </a:prstGeom>
            <a:noFill/>
            <a:ln w="9525">
              <a:noFill/>
              <a:miter lim="800000"/>
              <a:headEnd/>
              <a:tailEnd/>
            </a:ln>
          </p:spPr>
          <p:txBody>
            <a:bodyPr wrap="none" lIns="0" tIns="0" rIns="0" bIns="0">
              <a:spAutoFit/>
            </a:bodyPr>
            <a:lstStyle/>
            <a:p>
              <a:r>
                <a:rPr lang="en-US" sz="1000">
                  <a:solidFill>
                    <a:srgbClr val="000000"/>
                  </a:solidFill>
                </a:rPr>
                <a:t>H</a:t>
              </a:r>
              <a:endParaRPr lang="en-US"/>
            </a:p>
          </p:txBody>
        </p:sp>
        <p:sp>
          <p:nvSpPr>
            <p:cNvPr id="42104" name="Freeform 113"/>
            <p:cNvSpPr>
              <a:spLocks/>
            </p:cNvSpPr>
            <p:nvPr/>
          </p:nvSpPr>
          <p:spPr bwMode="auto">
            <a:xfrm>
              <a:off x="2836" y="995"/>
              <a:ext cx="216" cy="234"/>
            </a:xfrm>
            <a:custGeom>
              <a:avLst/>
              <a:gdLst>
                <a:gd name="T0" fmla="*/ 0 w 768"/>
                <a:gd name="T1" fmla="*/ 9 h 832"/>
                <a:gd name="T2" fmla="*/ 8 w 768"/>
                <a:gd name="T3" fmla="*/ 0 h 832"/>
                <a:gd name="T4" fmla="*/ 8 w 768"/>
                <a:gd name="T5" fmla="*/ 0 h 832"/>
                <a:gd name="T6" fmla="*/ 8 w 768"/>
                <a:gd name="T7" fmla="*/ 0 h 832"/>
                <a:gd name="T8" fmla="*/ 17 w 768"/>
                <a:gd name="T9" fmla="*/ 9 h 832"/>
                <a:gd name="T10" fmla="*/ 17 w 768"/>
                <a:gd name="T11" fmla="*/ 9 h 832"/>
                <a:gd name="T12" fmla="*/ 17 w 768"/>
                <a:gd name="T13" fmla="*/ 9 h 832"/>
                <a:gd name="T14" fmla="*/ 8 w 768"/>
                <a:gd name="T15" fmla="*/ 19 h 832"/>
                <a:gd name="T16" fmla="*/ 8 w 768"/>
                <a:gd name="T17" fmla="*/ 19 h 832"/>
                <a:gd name="T18" fmla="*/ 8 w 768"/>
                <a:gd name="T19" fmla="*/ 19 h 832"/>
                <a:gd name="T20" fmla="*/ 0 w 768"/>
                <a:gd name="T21" fmla="*/ 9 h 832"/>
                <a:gd name="T22" fmla="*/ 0 w 768"/>
                <a:gd name="T23" fmla="*/ 9 h 8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68"/>
                <a:gd name="T37" fmla="*/ 0 h 832"/>
                <a:gd name="T38" fmla="*/ 768 w 768"/>
                <a:gd name="T39" fmla="*/ 832 h 8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68" h="832">
                  <a:moveTo>
                    <a:pt x="0" y="416"/>
                  </a:moveTo>
                  <a:cubicBezTo>
                    <a:pt x="0" y="187"/>
                    <a:pt x="172" y="0"/>
                    <a:pt x="384" y="0"/>
                  </a:cubicBezTo>
                  <a:cubicBezTo>
                    <a:pt x="384" y="0"/>
                    <a:pt x="384" y="0"/>
                    <a:pt x="384" y="0"/>
                  </a:cubicBezTo>
                  <a:cubicBezTo>
                    <a:pt x="597" y="0"/>
                    <a:pt x="768" y="187"/>
                    <a:pt x="768" y="416"/>
                  </a:cubicBezTo>
                  <a:cubicBezTo>
                    <a:pt x="768" y="416"/>
                    <a:pt x="768" y="416"/>
                    <a:pt x="768" y="416"/>
                  </a:cubicBezTo>
                  <a:cubicBezTo>
                    <a:pt x="768" y="646"/>
                    <a:pt x="597" y="832"/>
                    <a:pt x="384" y="832"/>
                  </a:cubicBezTo>
                  <a:cubicBezTo>
                    <a:pt x="384" y="832"/>
                    <a:pt x="384" y="832"/>
                    <a:pt x="384" y="832"/>
                  </a:cubicBezTo>
                  <a:cubicBezTo>
                    <a:pt x="172" y="832"/>
                    <a:pt x="0" y="646"/>
                    <a:pt x="0" y="416"/>
                  </a:cubicBezTo>
                  <a:cubicBezTo>
                    <a:pt x="0" y="416"/>
                    <a:pt x="0" y="416"/>
                    <a:pt x="0" y="416"/>
                  </a:cubicBezTo>
                  <a:close/>
                </a:path>
              </a:pathLst>
            </a:custGeom>
            <a:solidFill>
              <a:srgbClr val="FFCC99"/>
            </a:solidFill>
            <a:ln w="0">
              <a:solidFill>
                <a:srgbClr val="000000"/>
              </a:solidFill>
              <a:round/>
              <a:headEnd/>
              <a:tailEnd/>
            </a:ln>
          </p:spPr>
          <p:txBody>
            <a:bodyPr/>
            <a:lstStyle/>
            <a:p>
              <a:endParaRPr lang="en-US"/>
            </a:p>
          </p:txBody>
        </p:sp>
        <p:sp>
          <p:nvSpPr>
            <p:cNvPr id="42105" name="Freeform 114"/>
            <p:cNvSpPr>
              <a:spLocks noEditPoints="1"/>
            </p:cNvSpPr>
            <p:nvPr/>
          </p:nvSpPr>
          <p:spPr bwMode="auto">
            <a:xfrm>
              <a:off x="2834" y="992"/>
              <a:ext cx="220" cy="239"/>
            </a:xfrm>
            <a:custGeom>
              <a:avLst/>
              <a:gdLst>
                <a:gd name="T0" fmla="*/ 0 w 784"/>
                <a:gd name="T1" fmla="*/ 8 h 848"/>
                <a:gd name="T2" fmla="*/ 1 w 784"/>
                <a:gd name="T3" fmla="*/ 6 h 848"/>
                <a:gd name="T4" fmla="*/ 3 w 784"/>
                <a:gd name="T5" fmla="*/ 3 h 848"/>
                <a:gd name="T6" fmla="*/ 4 w 784"/>
                <a:gd name="T7" fmla="*/ 2 h 848"/>
                <a:gd name="T8" fmla="*/ 7 w 784"/>
                <a:gd name="T9" fmla="*/ 0 h 848"/>
                <a:gd name="T10" fmla="*/ 9 w 784"/>
                <a:gd name="T11" fmla="*/ 0 h 848"/>
                <a:gd name="T12" fmla="*/ 12 w 784"/>
                <a:gd name="T13" fmla="*/ 1 h 848"/>
                <a:gd name="T14" fmla="*/ 13 w 784"/>
                <a:gd name="T15" fmla="*/ 2 h 848"/>
                <a:gd name="T16" fmla="*/ 16 w 784"/>
                <a:gd name="T17" fmla="*/ 4 h 848"/>
                <a:gd name="T18" fmla="*/ 17 w 784"/>
                <a:gd name="T19" fmla="*/ 6 h 848"/>
                <a:gd name="T20" fmla="*/ 17 w 784"/>
                <a:gd name="T21" fmla="*/ 10 h 848"/>
                <a:gd name="T22" fmla="*/ 17 w 784"/>
                <a:gd name="T23" fmla="*/ 12 h 848"/>
                <a:gd name="T24" fmla="*/ 16 w 784"/>
                <a:gd name="T25" fmla="*/ 15 h 848"/>
                <a:gd name="T26" fmla="*/ 15 w 784"/>
                <a:gd name="T27" fmla="*/ 16 h 848"/>
                <a:gd name="T28" fmla="*/ 12 w 784"/>
                <a:gd name="T29" fmla="*/ 18 h 848"/>
                <a:gd name="T30" fmla="*/ 10 w 784"/>
                <a:gd name="T31" fmla="*/ 19 h 848"/>
                <a:gd name="T32" fmla="*/ 7 w 784"/>
                <a:gd name="T33" fmla="*/ 19 h 848"/>
                <a:gd name="T34" fmla="*/ 5 w 784"/>
                <a:gd name="T35" fmla="*/ 18 h 848"/>
                <a:gd name="T36" fmla="*/ 3 w 784"/>
                <a:gd name="T37" fmla="*/ 16 h 848"/>
                <a:gd name="T38" fmla="*/ 1 w 784"/>
                <a:gd name="T39" fmla="*/ 15 h 848"/>
                <a:gd name="T40" fmla="*/ 0 w 784"/>
                <a:gd name="T41" fmla="*/ 12 h 848"/>
                <a:gd name="T42" fmla="*/ 1 w 784"/>
                <a:gd name="T43" fmla="*/ 11 h 848"/>
                <a:gd name="T44" fmla="*/ 1 w 784"/>
                <a:gd name="T45" fmla="*/ 13 h 848"/>
                <a:gd name="T46" fmla="*/ 3 w 784"/>
                <a:gd name="T47" fmla="*/ 16 h 848"/>
                <a:gd name="T48" fmla="*/ 4 w 784"/>
                <a:gd name="T49" fmla="*/ 17 h 848"/>
                <a:gd name="T50" fmla="*/ 7 w 784"/>
                <a:gd name="T51" fmla="*/ 19 h 848"/>
                <a:gd name="T52" fmla="*/ 9 w 784"/>
                <a:gd name="T53" fmla="*/ 19 h 848"/>
                <a:gd name="T54" fmla="*/ 12 w 784"/>
                <a:gd name="T55" fmla="*/ 18 h 848"/>
                <a:gd name="T56" fmla="*/ 13 w 784"/>
                <a:gd name="T57" fmla="*/ 17 h 848"/>
                <a:gd name="T58" fmla="*/ 16 w 784"/>
                <a:gd name="T59" fmla="*/ 15 h 848"/>
                <a:gd name="T60" fmla="*/ 16 w 784"/>
                <a:gd name="T61" fmla="*/ 13 h 848"/>
                <a:gd name="T62" fmla="*/ 17 w 784"/>
                <a:gd name="T63" fmla="*/ 10 h 848"/>
                <a:gd name="T64" fmla="*/ 17 w 784"/>
                <a:gd name="T65" fmla="*/ 8 h 848"/>
                <a:gd name="T66" fmla="*/ 16 w 784"/>
                <a:gd name="T67" fmla="*/ 5 h 848"/>
                <a:gd name="T68" fmla="*/ 15 w 784"/>
                <a:gd name="T69" fmla="*/ 3 h 848"/>
                <a:gd name="T70" fmla="*/ 12 w 784"/>
                <a:gd name="T71" fmla="*/ 1 h 848"/>
                <a:gd name="T72" fmla="*/ 10 w 784"/>
                <a:gd name="T73" fmla="*/ 1 h 848"/>
                <a:gd name="T74" fmla="*/ 7 w 784"/>
                <a:gd name="T75" fmla="*/ 1 h 848"/>
                <a:gd name="T76" fmla="*/ 5 w 784"/>
                <a:gd name="T77" fmla="*/ 1 h 848"/>
                <a:gd name="T78" fmla="*/ 3 w 784"/>
                <a:gd name="T79" fmla="*/ 3 h 848"/>
                <a:gd name="T80" fmla="*/ 2 w 784"/>
                <a:gd name="T81" fmla="*/ 5 h 848"/>
                <a:gd name="T82" fmla="*/ 1 w 784"/>
                <a:gd name="T83" fmla="*/ 8 h 848"/>
                <a:gd name="T84" fmla="*/ 0 w 784"/>
                <a:gd name="T85" fmla="*/ 10 h 8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84"/>
                <a:gd name="T130" fmla="*/ 0 h 848"/>
                <a:gd name="T131" fmla="*/ 784 w 784"/>
                <a:gd name="T132" fmla="*/ 848 h 84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84" h="848">
                  <a:moveTo>
                    <a:pt x="0" y="425"/>
                  </a:moveTo>
                  <a:cubicBezTo>
                    <a:pt x="0" y="425"/>
                    <a:pt x="0" y="424"/>
                    <a:pt x="0" y="424"/>
                  </a:cubicBezTo>
                  <a:lnTo>
                    <a:pt x="8" y="340"/>
                  </a:lnTo>
                  <a:cubicBezTo>
                    <a:pt x="9" y="339"/>
                    <a:pt x="9" y="339"/>
                    <a:pt x="9" y="338"/>
                  </a:cubicBezTo>
                  <a:lnTo>
                    <a:pt x="31" y="260"/>
                  </a:lnTo>
                  <a:cubicBezTo>
                    <a:pt x="31" y="260"/>
                    <a:pt x="31" y="259"/>
                    <a:pt x="31" y="259"/>
                  </a:cubicBezTo>
                  <a:lnTo>
                    <a:pt x="67" y="189"/>
                  </a:lnTo>
                  <a:cubicBezTo>
                    <a:pt x="68" y="188"/>
                    <a:pt x="68" y="188"/>
                    <a:pt x="68" y="188"/>
                  </a:cubicBezTo>
                  <a:lnTo>
                    <a:pt x="115" y="126"/>
                  </a:lnTo>
                  <a:cubicBezTo>
                    <a:pt x="115" y="125"/>
                    <a:pt x="116" y="125"/>
                    <a:pt x="116" y="125"/>
                  </a:cubicBezTo>
                  <a:lnTo>
                    <a:pt x="172" y="74"/>
                  </a:lnTo>
                  <a:cubicBezTo>
                    <a:pt x="172" y="73"/>
                    <a:pt x="173" y="73"/>
                    <a:pt x="173" y="73"/>
                  </a:cubicBezTo>
                  <a:lnTo>
                    <a:pt x="239" y="35"/>
                  </a:lnTo>
                  <a:cubicBezTo>
                    <a:pt x="240" y="34"/>
                    <a:pt x="240" y="34"/>
                    <a:pt x="241" y="34"/>
                  </a:cubicBezTo>
                  <a:lnTo>
                    <a:pt x="313" y="9"/>
                  </a:lnTo>
                  <a:cubicBezTo>
                    <a:pt x="313" y="9"/>
                    <a:pt x="314" y="9"/>
                    <a:pt x="315" y="9"/>
                  </a:cubicBezTo>
                  <a:lnTo>
                    <a:pt x="392" y="1"/>
                  </a:lnTo>
                  <a:cubicBezTo>
                    <a:pt x="392" y="0"/>
                    <a:pt x="393" y="0"/>
                    <a:pt x="393" y="1"/>
                  </a:cubicBezTo>
                  <a:lnTo>
                    <a:pt x="471" y="9"/>
                  </a:lnTo>
                  <a:cubicBezTo>
                    <a:pt x="472" y="9"/>
                    <a:pt x="473" y="9"/>
                    <a:pt x="473" y="9"/>
                  </a:cubicBezTo>
                  <a:lnTo>
                    <a:pt x="545" y="34"/>
                  </a:lnTo>
                  <a:cubicBezTo>
                    <a:pt x="546" y="34"/>
                    <a:pt x="546" y="34"/>
                    <a:pt x="547" y="35"/>
                  </a:cubicBezTo>
                  <a:lnTo>
                    <a:pt x="612" y="73"/>
                  </a:lnTo>
                  <a:cubicBezTo>
                    <a:pt x="612" y="73"/>
                    <a:pt x="612" y="73"/>
                    <a:pt x="613" y="74"/>
                  </a:cubicBezTo>
                  <a:lnTo>
                    <a:pt x="670" y="125"/>
                  </a:lnTo>
                  <a:cubicBezTo>
                    <a:pt x="670" y="125"/>
                    <a:pt x="671" y="125"/>
                    <a:pt x="671" y="126"/>
                  </a:cubicBezTo>
                  <a:lnTo>
                    <a:pt x="718" y="188"/>
                  </a:lnTo>
                  <a:cubicBezTo>
                    <a:pt x="718" y="188"/>
                    <a:pt x="718" y="188"/>
                    <a:pt x="719" y="189"/>
                  </a:cubicBezTo>
                  <a:lnTo>
                    <a:pt x="754" y="259"/>
                  </a:lnTo>
                  <a:cubicBezTo>
                    <a:pt x="754" y="259"/>
                    <a:pt x="754" y="260"/>
                    <a:pt x="754" y="260"/>
                  </a:cubicBezTo>
                  <a:lnTo>
                    <a:pt x="776" y="338"/>
                  </a:lnTo>
                  <a:cubicBezTo>
                    <a:pt x="776" y="339"/>
                    <a:pt x="776" y="339"/>
                    <a:pt x="776" y="340"/>
                  </a:cubicBezTo>
                  <a:lnTo>
                    <a:pt x="784" y="424"/>
                  </a:lnTo>
                  <a:cubicBezTo>
                    <a:pt x="784" y="424"/>
                    <a:pt x="784" y="425"/>
                    <a:pt x="784" y="425"/>
                  </a:cubicBezTo>
                  <a:lnTo>
                    <a:pt x="776" y="509"/>
                  </a:lnTo>
                  <a:cubicBezTo>
                    <a:pt x="776" y="510"/>
                    <a:pt x="776" y="510"/>
                    <a:pt x="776" y="511"/>
                  </a:cubicBezTo>
                  <a:lnTo>
                    <a:pt x="754" y="589"/>
                  </a:lnTo>
                  <a:cubicBezTo>
                    <a:pt x="754" y="589"/>
                    <a:pt x="754" y="590"/>
                    <a:pt x="754" y="590"/>
                  </a:cubicBezTo>
                  <a:lnTo>
                    <a:pt x="719" y="661"/>
                  </a:lnTo>
                  <a:cubicBezTo>
                    <a:pt x="718" y="661"/>
                    <a:pt x="718" y="662"/>
                    <a:pt x="718" y="662"/>
                  </a:cubicBezTo>
                  <a:lnTo>
                    <a:pt x="671" y="723"/>
                  </a:lnTo>
                  <a:cubicBezTo>
                    <a:pt x="671" y="724"/>
                    <a:pt x="670" y="724"/>
                    <a:pt x="670" y="724"/>
                  </a:cubicBezTo>
                  <a:lnTo>
                    <a:pt x="613" y="775"/>
                  </a:lnTo>
                  <a:cubicBezTo>
                    <a:pt x="612" y="776"/>
                    <a:pt x="612" y="776"/>
                    <a:pt x="612" y="776"/>
                  </a:cubicBezTo>
                  <a:lnTo>
                    <a:pt x="547" y="814"/>
                  </a:lnTo>
                  <a:cubicBezTo>
                    <a:pt x="546" y="815"/>
                    <a:pt x="546" y="815"/>
                    <a:pt x="545" y="815"/>
                  </a:cubicBezTo>
                  <a:lnTo>
                    <a:pt x="473" y="840"/>
                  </a:lnTo>
                  <a:cubicBezTo>
                    <a:pt x="473" y="840"/>
                    <a:pt x="472" y="840"/>
                    <a:pt x="471" y="840"/>
                  </a:cubicBezTo>
                  <a:lnTo>
                    <a:pt x="393" y="848"/>
                  </a:lnTo>
                  <a:cubicBezTo>
                    <a:pt x="393" y="848"/>
                    <a:pt x="392" y="848"/>
                    <a:pt x="392" y="848"/>
                  </a:cubicBezTo>
                  <a:lnTo>
                    <a:pt x="315" y="840"/>
                  </a:lnTo>
                  <a:cubicBezTo>
                    <a:pt x="314" y="840"/>
                    <a:pt x="313" y="840"/>
                    <a:pt x="313" y="840"/>
                  </a:cubicBezTo>
                  <a:lnTo>
                    <a:pt x="241" y="815"/>
                  </a:lnTo>
                  <a:cubicBezTo>
                    <a:pt x="240" y="815"/>
                    <a:pt x="240" y="815"/>
                    <a:pt x="239" y="814"/>
                  </a:cubicBezTo>
                  <a:lnTo>
                    <a:pt x="173" y="776"/>
                  </a:lnTo>
                  <a:cubicBezTo>
                    <a:pt x="173" y="776"/>
                    <a:pt x="172" y="776"/>
                    <a:pt x="172" y="775"/>
                  </a:cubicBezTo>
                  <a:lnTo>
                    <a:pt x="116" y="724"/>
                  </a:lnTo>
                  <a:cubicBezTo>
                    <a:pt x="116" y="724"/>
                    <a:pt x="115" y="724"/>
                    <a:pt x="115" y="723"/>
                  </a:cubicBezTo>
                  <a:lnTo>
                    <a:pt x="68" y="662"/>
                  </a:lnTo>
                  <a:cubicBezTo>
                    <a:pt x="68" y="662"/>
                    <a:pt x="68" y="662"/>
                    <a:pt x="67" y="661"/>
                  </a:cubicBezTo>
                  <a:lnTo>
                    <a:pt x="31" y="590"/>
                  </a:lnTo>
                  <a:cubicBezTo>
                    <a:pt x="31" y="590"/>
                    <a:pt x="31" y="589"/>
                    <a:pt x="31" y="589"/>
                  </a:cubicBezTo>
                  <a:lnTo>
                    <a:pt x="9" y="511"/>
                  </a:lnTo>
                  <a:cubicBezTo>
                    <a:pt x="9" y="510"/>
                    <a:pt x="9" y="510"/>
                    <a:pt x="8" y="509"/>
                  </a:cubicBezTo>
                  <a:lnTo>
                    <a:pt x="0" y="425"/>
                  </a:lnTo>
                  <a:close/>
                  <a:moveTo>
                    <a:pt x="24" y="508"/>
                  </a:moveTo>
                  <a:lnTo>
                    <a:pt x="24" y="506"/>
                  </a:lnTo>
                  <a:lnTo>
                    <a:pt x="46" y="584"/>
                  </a:lnTo>
                  <a:lnTo>
                    <a:pt x="46" y="583"/>
                  </a:lnTo>
                  <a:lnTo>
                    <a:pt x="82" y="654"/>
                  </a:lnTo>
                  <a:lnTo>
                    <a:pt x="81" y="653"/>
                  </a:lnTo>
                  <a:lnTo>
                    <a:pt x="128" y="714"/>
                  </a:lnTo>
                  <a:lnTo>
                    <a:pt x="127" y="713"/>
                  </a:lnTo>
                  <a:lnTo>
                    <a:pt x="183" y="764"/>
                  </a:lnTo>
                  <a:lnTo>
                    <a:pt x="181" y="763"/>
                  </a:lnTo>
                  <a:lnTo>
                    <a:pt x="247" y="801"/>
                  </a:lnTo>
                  <a:lnTo>
                    <a:pt x="246" y="800"/>
                  </a:lnTo>
                  <a:lnTo>
                    <a:pt x="318" y="825"/>
                  </a:lnTo>
                  <a:lnTo>
                    <a:pt x="316" y="825"/>
                  </a:lnTo>
                  <a:lnTo>
                    <a:pt x="393" y="833"/>
                  </a:lnTo>
                  <a:lnTo>
                    <a:pt x="392" y="833"/>
                  </a:lnTo>
                  <a:lnTo>
                    <a:pt x="470" y="825"/>
                  </a:lnTo>
                  <a:lnTo>
                    <a:pt x="468" y="825"/>
                  </a:lnTo>
                  <a:lnTo>
                    <a:pt x="540" y="800"/>
                  </a:lnTo>
                  <a:lnTo>
                    <a:pt x="538" y="801"/>
                  </a:lnTo>
                  <a:lnTo>
                    <a:pt x="603" y="763"/>
                  </a:lnTo>
                  <a:lnTo>
                    <a:pt x="602" y="763"/>
                  </a:lnTo>
                  <a:lnTo>
                    <a:pt x="659" y="712"/>
                  </a:lnTo>
                  <a:lnTo>
                    <a:pt x="658" y="714"/>
                  </a:lnTo>
                  <a:lnTo>
                    <a:pt x="705" y="653"/>
                  </a:lnTo>
                  <a:lnTo>
                    <a:pt x="704" y="654"/>
                  </a:lnTo>
                  <a:lnTo>
                    <a:pt x="739" y="583"/>
                  </a:lnTo>
                  <a:lnTo>
                    <a:pt x="739" y="584"/>
                  </a:lnTo>
                  <a:lnTo>
                    <a:pt x="761" y="506"/>
                  </a:lnTo>
                  <a:lnTo>
                    <a:pt x="760" y="508"/>
                  </a:lnTo>
                  <a:lnTo>
                    <a:pt x="768" y="424"/>
                  </a:lnTo>
                  <a:lnTo>
                    <a:pt x="768" y="425"/>
                  </a:lnTo>
                  <a:lnTo>
                    <a:pt x="760" y="341"/>
                  </a:lnTo>
                  <a:lnTo>
                    <a:pt x="761" y="343"/>
                  </a:lnTo>
                  <a:lnTo>
                    <a:pt x="739" y="265"/>
                  </a:lnTo>
                  <a:lnTo>
                    <a:pt x="739" y="266"/>
                  </a:lnTo>
                  <a:lnTo>
                    <a:pt x="704" y="196"/>
                  </a:lnTo>
                  <a:lnTo>
                    <a:pt x="705" y="197"/>
                  </a:lnTo>
                  <a:lnTo>
                    <a:pt x="658" y="135"/>
                  </a:lnTo>
                  <a:lnTo>
                    <a:pt x="659" y="136"/>
                  </a:lnTo>
                  <a:lnTo>
                    <a:pt x="602" y="85"/>
                  </a:lnTo>
                  <a:lnTo>
                    <a:pt x="603" y="86"/>
                  </a:lnTo>
                  <a:lnTo>
                    <a:pt x="538" y="48"/>
                  </a:lnTo>
                  <a:lnTo>
                    <a:pt x="540" y="49"/>
                  </a:lnTo>
                  <a:lnTo>
                    <a:pt x="468" y="24"/>
                  </a:lnTo>
                  <a:lnTo>
                    <a:pt x="470" y="24"/>
                  </a:lnTo>
                  <a:lnTo>
                    <a:pt x="392" y="16"/>
                  </a:lnTo>
                  <a:lnTo>
                    <a:pt x="393" y="16"/>
                  </a:lnTo>
                  <a:lnTo>
                    <a:pt x="316" y="24"/>
                  </a:lnTo>
                  <a:lnTo>
                    <a:pt x="318" y="24"/>
                  </a:lnTo>
                  <a:lnTo>
                    <a:pt x="246" y="49"/>
                  </a:lnTo>
                  <a:lnTo>
                    <a:pt x="247" y="48"/>
                  </a:lnTo>
                  <a:lnTo>
                    <a:pt x="181" y="86"/>
                  </a:lnTo>
                  <a:lnTo>
                    <a:pt x="183" y="85"/>
                  </a:lnTo>
                  <a:lnTo>
                    <a:pt x="127" y="136"/>
                  </a:lnTo>
                  <a:lnTo>
                    <a:pt x="128" y="135"/>
                  </a:lnTo>
                  <a:lnTo>
                    <a:pt x="81" y="197"/>
                  </a:lnTo>
                  <a:lnTo>
                    <a:pt x="82" y="196"/>
                  </a:lnTo>
                  <a:lnTo>
                    <a:pt x="46" y="266"/>
                  </a:lnTo>
                  <a:lnTo>
                    <a:pt x="46" y="265"/>
                  </a:lnTo>
                  <a:lnTo>
                    <a:pt x="24" y="343"/>
                  </a:lnTo>
                  <a:lnTo>
                    <a:pt x="24" y="341"/>
                  </a:lnTo>
                  <a:lnTo>
                    <a:pt x="16" y="425"/>
                  </a:lnTo>
                  <a:lnTo>
                    <a:pt x="16" y="424"/>
                  </a:lnTo>
                  <a:lnTo>
                    <a:pt x="24" y="508"/>
                  </a:lnTo>
                  <a:close/>
                </a:path>
              </a:pathLst>
            </a:custGeom>
            <a:solidFill>
              <a:srgbClr val="000000"/>
            </a:solidFill>
            <a:ln w="0">
              <a:solidFill>
                <a:srgbClr val="000000"/>
              </a:solidFill>
              <a:round/>
              <a:headEnd/>
              <a:tailEnd/>
            </a:ln>
          </p:spPr>
          <p:txBody>
            <a:bodyPr/>
            <a:lstStyle/>
            <a:p>
              <a:endParaRPr lang="en-US"/>
            </a:p>
          </p:txBody>
        </p:sp>
        <p:sp>
          <p:nvSpPr>
            <p:cNvPr id="42106" name="Freeform 115"/>
            <p:cNvSpPr>
              <a:spLocks/>
            </p:cNvSpPr>
            <p:nvPr/>
          </p:nvSpPr>
          <p:spPr bwMode="auto">
            <a:xfrm>
              <a:off x="2836" y="995"/>
              <a:ext cx="216" cy="234"/>
            </a:xfrm>
            <a:custGeom>
              <a:avLst/>
              <a:gdLst>
                <a:gd name="T0" fmla="*/ 0 w 768"/>
                <a:gd name="T1" fmla="*/ 9 h 832"/>
                <a:gd name="T2" fmla="*/ 8 w 768"/>
                <a:gd name="T3" fmla="*/ 0 h 832"/>
                <a:gd name="T4" fmla="*/ 8 w 768"/>
                <a:gd name="T5" fmla="*/ 0 h 832"/>
                <a:gd name="T6" fmla="*/ 8 w 768"/>
                <a:gd name="T7" fmla="*/ 0 h 832"/>
                <a:gd name="T8" fmla="*/ 17 w 768"/>
                <a:gd name="T9" fmla="*/ 9 h 832"/>
                <a:gd name="T10" fmla="*/ 17 w 768"/>
                <a:gd name="T11" fmla="*/ 9 h 832"/>
                <a:gd name="T12" fmla="*/ 17 w 768"/>
                <a:gd name="T13" fmla="*/ 9 h 832"/>
                <a:gd name="T14" fmla="*/ 8 w 768"/>
                <a:gd name="T15" fmla="*/ 19 h 832"/>
                <a:gd name="T16" fmla="*/ 8 w 768"/>
                <a:gd name="T17" fmla="*/ 19 h 832"/>
                <a:gd name="T18" fmla="*/ 8 w 768"/>
                <a:gd name="T19" fmla="*/ 19 h 832"/>
                <a:gd name="T20" fmla="*/ 0 w 768"/>
                <a:gd name="T21" fmla="*/ 9 h 832"/>
                <a:gd name="T22" fmla="*/ 0 w 768"/>
                <a:gd name="T23" fmla="*/ 9 h 83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68"/>
                <a:gd name="T37" fmla="*/ 0 h 832"/>
                <a:gd name="T38" fmla="*/ 768 w 768"/>
                <a:gd name="T39" fmla="*/ 832 h 83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68" h="832">
                  <a:moveTo>
                    <a:pt x="0" y="416"/>
                  </a:moveTo>
                  <a:cubicBezTo>
                    <a:pt x="0" y="187"/>
                    <a:pt x="172" y="0"/>
                    <a:pt x="384" y="0"/>
                  </a:cubicBezTo>
                  <a:cubicBezTo>
                    <a:pt x="384" y="0"/>
                    <a:pt x="384" y="0"/>
                    <a:pt x="384" y="0"/>
                  </a:cubicBezTo>
                  <a:cubicBezTo>
                    <a:pt x="597" y="0"/>
                    <a:pt x="768" y="187"/>
                    <a:pt x="768" y="416"/>
                  </a:cubicBezTo>
                  <a:cubicBezTo>
                    <a:pt x="768" y="416"/>
                    <a:pt x="768" y="416"/>
                    <a:pt x="768" y="416"/>
                  </a:cubicBezTo>
                  <a:cubicBezTo>
                    <a:pt x="768" y="646"/>
                    <a:pt x="597" y="832"/>
                    <a:pt x="384" y="832"/>
                  </a:cubicBezTo>
                  <a:cubicBezTo>
                    <a:pt x="384" y="832"/>
                    <a:pt x="384" y="832"/>
                    <a:pt x="384" y="832"/>
                  </a:cubicBezTo>
                  <a:cubicBezTo>
                    <a:pt x="172" y="832"/>
                    <a:pt x="0" y="646"/>
                    <a:pt x="0" y="416"/>
                  </a:cubicBezTo>
                  <a:cubicBezTo>
                    <a:pt x="0" y="416"/>
                    <a:pt x="0" y="416"/>
                    <a:pt x="0" y="416"/>
                  </a:cubicBezTo>
                  <a:close/>
                </a:path>
              </a:pathLst>
            </a:custGeom>
            <a:solidFill>
              <a:srgbClr val="FF0000"/>
            </a:solidFill>
            <a:ln w="0">
              <a:solidFill>
                <a:srgbClr val="000000"/>
              </a:solidFill>
              <a:round/>
              <a:headEnd/>
              <a:tailEnd/>
            </a:ln>
          </p:spPr>
          <p:txBody>
            <a:bodyPr/>
            <a:lstStyle/>
            <a:p>
              <a:endParaRPr lang="en-US"/>
            </a:p>
          </p:txBody>
        </p:sp>
        <p:sp>
          <p:nvSpPr>
            <p:cNvPr id="42107" name="Freeform 116"/>
            <p:cNvSpPr>
              <a:spLocks noEditPoints="1"/>
            </p:cNvSpPr>
            <p:nvPr/>
          </p:nvSpPr>
          <p:spPr bwMode="auto">
            <a:xfrm>
              <a:off x="2834" y="992"/>
              <a:ext cx="220" cy="239"/>
            </a:xfrm>
            <a:custGeom>
              <a:avLst/>
              <a:gdLst>
                <a:gd name="T0" fmla="*/ 0 w 784"/>
                <a:gd name="T1" fmla="*/ 8 h 848"/>
                <a:gd name="T2" fmla="*/ 1 w 784"/>
                <a:gd name="T3" fmla="*/ 6 h 848"/>
                <a:gd name="T4" fmla="*/ 3 w 784"/>
                <a:gd name="T5" fmla="*/ 3 h 848"/>
                <a:gd name="T6" fmla="*/ 4 w 784"/>
                <a:gd name="T7" fmla="*/ 2 h 848"/>
                <a:gd name="T8" fmla="*/ 7 w 784"/>
                <a:gd name="T9" fmla="*/ 0 h 848"/>
                <a:gd name="T10" fmla="*/ 9 w 784"/>
                <a:gd name="T11" fmla="*/ 0 h 848"/>
                <a:gd name="T12" fmla="*/ 12 w 784"/>
                <a:gd name="T13" fmla="*/ 1 h 848"/>
                <a:gd name="T14" fmla="*/ 13 w 784"/>
                <a:gd name="T15" fmla="*/ 2 h 848"/>
                <a:gd name="T16" fmla="*/ 16 w 784"/>
                <a:gd name="T17" fmla="*/ 4 h 848"/>
                <a:gd name="T18" fmla="*/ 17 w 784"/>
                <a:gd name="T19" fmla="*/ 6 h 848"/>
                <a:gd name="T20" fmla="*/ 17 w 784"/>
                <a:gd name="T21" fmla="*/ 10 h 848"/>
                <a:gd name="T22" fmla="*/ 17 w 784"/>
                <a:gd name="T23" fmla="*/ 12 h 848"/>
                <a:gd name="T24" fmla="*/ 16 w 784"/>
                <a:gd name="T25" fmla="*/ 15 h 848"/>
                <a:gd name="T26" fmla="*/ 15 w 784"/>
                <a:gd name="T27" fmla="*/ 16 h 848"/>
                <a:gd name="T28" fmla="*/ 12 w 784"/>
                <a:gd name="T29" fmla="*/ 18 h 848"/>
                <a:gd name="T30" fmla="*/ 10 w 784"/>
                <a:gd name="T31" fmla="*/ 19 h 848"/>
                <a:gd name="T32" fmla="*/ 7 w 784"/>
                <a:gd name="T33" fmla="*/ 19 h 848"/>
                <a:gd name="T34" fmla="*/ 5 w 784"/>
                <a:gd name="T35" fmla="*/ 18 h 848"/>
                <a:gd name="T36" fmla="*/ 3 w 784"/>
                <a:gd name="T37" fmla="*/ 16 h 848"/>
                <a:gd name="T38" fmla="*/ 1 w 784"/>
                <a:gd name="T39" fmla="*/ 15 h 848"/>
                <a:gd name="T40" fmla="*/ 0 w 784"/>
                <a:gd name="T41" fmla="*/ 12 h 848"/>
                <a:gd name="T42" fmla="*/ 1 w 784"/>
                <a:gd name="T43" fmla="*/ 11 h 848"/>
                <a:gd name="T44" fmla="*/ 1 w 784"/>
                <a:gd name="T45" fmla="*/ 13 h 848"/>
                <a:gd name="T46" fmla="*/ 3 w 784"/>
                <a:gd name="T47" fmla="*/ 16 h 848"/>
                <a:gd name="T48" fmla="*/ 4 w 784"/>
                <a:gd name="T49" fmla="*/ 17 h 848"/>
                <a:gd name="T50" fmla="*/ 7 w 784"/>
                <a:gd name="T51" fmla="*/ 19 h 848"/>
                <a:gd name="T52" fmla="*/ 9 w 784"/>
                <a:gd name="T53" fmla="*/ 19 h 848"/>
                <a:gd name="T54" fmla="*/ 12 w 784"/>
                <a:gd name="T55" fmla="*/ 18 h 848"/>
                <a:gd name="T56" fmla="*/ 13 w 784"/>
                <a:gd name="T57" fmla="*/ 17 h 848"/>
                <a:gd name="T58" fmla="*/ 16 w 784"/>
                <a:gd name="T59" fmla="*/ 15 h 848"/>
                <a:gd name="T60" fmla="*/ 16 w 784"/>
                <a:gd name="T61" fmla="*/ 13 h 848"/>
                <a:gd name="T62" fmla="*/ 17 w 784"/>
                <a:gd name="T63" fmla="*/ 10 h 848"/>
                <a:gd name="T64" fmla="*/ 17 w 784"/>
                <a:gd name="T65" fmla="*/ 8 h 848"/>
                <a:gd name="T66" fmla="*/ 16 w 784"/>
                <a:gd name="T67" fmla="*/ 5 h 848"/>
                <a:gd name="T68" fmla="*/ 15 w 784"/>
                <a:gd name="T69" fmla="*/ 3 h 848"/>
                <a:gd name="T70" fmla="*/ 12 w 784"/>
                <a:gd name="T71" fmla="*/ 1 h 848"/>
                <a:gd name="T72" fmla="*/ 10 w 784"/>
                <a:gd name="T73" fmla="*/ 1 h 848"/>
                <a:gd name="T74" fmla="*/ 7 w 784"/>
                <a:gd name="T75" fmla="*/ 1 h 848"/>
                <a:gd name="T76" fmla="*/ 5 w 784"/>
                <a:gd name="T77" fmla="*/ 1 h 848"/>
                <a:gd name="T78" fmla="*/ 3 w 784"/>
                <a:gd name="T79" fmla="*/ 3 h 848"/>
                <a:gd name="T80" fmla="*/ 2 w 784"/>
                <a:gd name="T81" fmla="*/ 5 h 848"/>
                <a:gd name="T82" fmla="*/ 1 w 784"/>
                <a:gd name="T83" fmla="*/ 8 h 848"/>
                <a:gd name="T84" fmla="*/ 0 w 784"/>
                <a:gd name="T85" fmla="*/ 10 h 8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784"/>
                <a:gd name="T130" fmla="*/ 0 h 848"/>
                <a:gd name="T131" fmla="*/ 784 w 784"/>
                <a:gd name="T132" fmla="*/ 848 h 84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784" h="848">
                  <a:moveTo>
                    <a:pt x="0" y="425"/>
                  </a:moveTo>
                  <a:cubicBezTo>
                    <a:pt x="0" y="425"/>
                    <a:pt x="0" y="424"/>
                    <a:pt x="0" y="424"/>
                  </a:cubicBezTo>
                  <a:lnTo>
                    <a:pt x="8" y="340"/>
                  </a:lnTo>
                  <a:cubicBezTo>
                    <a:pt x="9" y="339"/>
                    <a:pt x="9" y="339"/>
                    <a:pt x="9" y="338"/>
                  </a:cubicBezTo>
                  <a:lnTo>
                    <a:pt x="31" y="260"/>
                  </a:lnTo>
                  <a:cubicBezTo>
                    <a:pt x="31" y="260"/>
                    <a:pt x="31" y="259"/>
                    <a:pt x="31" y="259"/>
                  </a:cubicBezTo>
                  <a:lnTo>
                    <a:pt x="67" y="189"/>
                  </a:lnTo>
                  <a:cubicBezTo>
                    <a:pt x="68" y="188"/>
                    <a:pt x="68" y="188"/>
                    <a:pt x="68" y="188"/>
                  </a:cubicBezTo>
                  <a:lnTo>
                    <a:pt x="115" y="126"/>
                  </a:lnTo>
                  <a:cubicBezTo>
                    <a:pt x="115" y="125"/>
                    <a:pt x="116" y="125"/>
                    <a:pt x="116" y="125"/>
                  </a:cubicBezTo>
                  <a:lnTo>
                    <a:pt x="172" y="74"/>
                  </a:lnTo>
                  <a:cubicBezTo>
                    <a:pt x="172" y="73"/>
                    <a:pt x="173" y="73"/>
                    <a:pt x="173" y="73"/>
                  </a:cubicBezTo>
                  <a:lnTo>
                    <a:pt x="239" y="35"/>
                  </a:lnTo>
                  <a:cubicBezTo>
                    <a:pt x="240" y="34"/>
                    <a:pt x="240" y="34"/>
                    <a:pt x="241" y="34"/>
                  </a:cubicBezTo>
                  <a:lnTo>
                    <a:pt x="313" y="9"/>
                  </a:lnTo>
                  <a:cubicBezTo>
                    <a:pt x="313" y="9"/>
                    <a:pt x="314" y="9"/>
                    <a:pt x="315" y="9"/>
                  </a:cubicBezTo>
                  <a:lnTo>
                    <a:pt x="392" y="1"/>
                  </a:lnTo>
                  <a:cubicBezTo>
                    <a:pt x="392" y="0"/>
                    <a:pt x="393" y="0"/>
                    <a:pt x="393" y="1"/>
                  </a:cubicBezTo>
                  <a:lnTo>
                    <a:pt x="471" y="9"/>
                  </a:lnTo>
                  <a:cubicBezTo>
                    <a:pt x="472" y="9"/>
                    <a:pt x="473" y="9"/>
                    <a:pt x="473" y="9"/>
                  </a:cubicBezTo>
                  <a:lnTo>
                    <a:pt x="545" y="34"/>
                  </a:lnTo>
                  <a:cubicBezTo>
                    <a:pt x="546" y="34"/>
                    <a:pt x="546" y="34"/>
                    <a:pt x="547" y="35"/>
                  </a:cubicBezTo>
                  <a:lnTo>
                    <a:pt x="612" y="73"/>
                  </a:lnTo>
                  <a:cubicBezTo>
                    <a:pt x="612" y="73"/>
                    <a:pt x="612" y="73"/>
                    <a:pt x="613" y="74"/>
                  </a:cubicBezTo>
                  <a:lnTo>
                    <a:pt x="670" y="125"/>
                  </a:lnTo>
                  <a:cubicBezTo>
                    <a:pt x="670" y="125"/>
                    <a:pt x="671" y="125"/>
                    <a:pt x="671" y="126"/>
                  </a:cubicBezTo>
                  <a:lnTo>
                    <a:pt x="718" y="188"/>
                  </a:lnTo>
                  <a:cubicBezTo>
                    <a:pt x="718" y="188"/>
                    <a:pt x="718" y="188"/>
                    <a:pt x="719" y="189"/>
                  </a:cubicBezTo>
                  <a:lnTo>
                    <a:pt x="754" y="259"/>
                  </a:lnTo>
                  <a:cubicBezTo>
                    <a:pt x="754" y="259"/>
                    <a:pt x="754" y="260"/>
                    <a:pt x="754" y="260"/>
                  </a:cubicBezTo>
                  <a:lnTo>
                    <a:pt x="776" y="338"/>
                  </a:lnTo>
                  <a:cubicBezTo>
                    <a:pt x="776" y="339"/>
                    <a:pt x="776" y="339"/>
                    <a:pt x="776" y="340"/>
                  </a:cubicBezTo>
                  <a:lnTo>
                    <a:pt x="784" y="424"/>
                  </a:lnTo>
                  <a:cubicBezTo>
                    <a:pt x="784" y="424"/>
                    <a:pt x="784" y="425"/>
                    <a:pt x="784" y="425"/>
                  </a:cubicBezTo>
                  <a:lnTo>
                    <a:pt x="776" y="509"/>
                  </a:lnTo>
                  <a:cubicBezTo>
                    <a:pt x="776" y="510"/>
                    <a:pt x="776" y="510"/>
                    <a:pt x="776" y="511"/>
                  </a:cubicBezTo>
                  <a:lnTo>
                    <a:pt x="754" y="589"/>
                  </a:lnTo>
                  <a:cubicBezTo>
                    <a:pt x="754" y="589"/>
                    <a:pt x="754" y="590"/>
                    <a:pt x="754" y="590"/>
                  </a:cubicBezTo>
                  <a:lnTo>
                    <a:pt x="719" y="661"/>
                  </a:lnTo>
                  <a:cubicBezTo>
                    <a:pt x="718" y="661"/>
                    <a:pt x="718" y="662"/>
                    <a:pt x="718" y="662"/>
                  </a:cubicBezTo>
                  <a:lnTo>
                    <a:pt x="671" y="723"/>
                  </a:lnTo>
                  <a:cubicBezTo>
                    <a:pt x="671" y="724"/>
                    <a:pt x="670" y="724"/>
                    <a:pt x="670" y="724"/>
                  </a:cubicBezTo>
                  <a:lnTo>
                    <a:pt x="613" y="775"/>
                  </a:lnTo>
                  <a:cubicBezTo>
                    <a:pt x="612" y="776"/>
                    <a:pt x="612" y="776"/>
                    <a:pt x="612" y="776"/>
                  </a:cubicBezTo>
                  <a:lnTo>
                    <a:pt x="547" y="814"/>
                  </a:lnTo>
                  <a:cubicBezTo>
                    <a:pt x="546" y="815"/>
                    <a:pt x="546" y="815"/>
                    <a:pt x="545" y="815"/>
                  </a:cubicBezTo>
                  <a:lnTo>
                    <a:pt x="473" y="840"/>
                  </a:lnTo>
                  <a:cubicBezTo>
                    <a:pt x="473" y="840"/>
                    <a:pt x="472" y="840"/>
                    <a:pt x="471" y="840"/>
                  </a:cubicBezTo>
                  <a:lnTo>
                    <a:pt x="393" y="848"/>
                  </a:lnTo>
                  <a:cubicBezTo>
                    <a:pt x="393" y="848"/>
                    <a:pt x="392" y="848"/>
                    <a:pt x="392" y="848"/>
                  </a:cubicBezTo>
                  <a:lnTo>
                    <a:pt x="315" y="840"/>
                  </a:lnTo>
                  <a:cubicBezTo>
                    <a:pt x="314" y="840"/>
                    <a:pt x="313" y="840"/>
                    <a:pt x="313" y="840"/>
                  </a:cubicBezTo>
                  <a:lnTo>
                    <a:pt x="241" y="815"/>
                  </a:lnTo>
                  <a:cubicBezTo>
                    <a:pt x="240" y="815"/>
                    <a:pt x="240" y="815"/>
                    <a:pt x="239" y="814"/>
                  </a:cubicBezTo>
                  <a:lnTo>
                    <a:pt x="173" y="776"/>
                  </a:lnTo>
                  <a:cubicBezTo>
                    <a:pt x="173" y="776"/>
                    <a:pt x="172" y="776"/>
                    <a:pt x="172" y="775"/>
                  </a:cubicBezTo>
                  <a:lnTo>
                    <a:pt x="116" y="724"/>
                  </a:lnTo>
                  <a:cubicBezTo>
                    <a:pt x="116" y="724"/>
                    <a:pt x="115" y="724"/>
                    <a:pt x="115" y="723"/>
                  </a:cubicBezTo>
                  <a:lnTo>
                    <a:pt x="68" y="662"/>
                  </a:lnTo>
                  <a:cubicBezTo>
                    <a:pt x="68" y="662"/>
                    <a:pt x="68" y="662"/>
                    <a:pt x="67" y="661"/>
                  </a:cubicBezTo>
                  <a:lnTo>
                    <a:pt x="31" y="590"/>
                  </a:lnTo>
                  <a:cubicBezTo>
                    <a:pt x="31" y="590"/>
                    <a:pt x="31" y="589"/>
                    <a:pt x="31" y="589"/>
                  </a:cubicBezTo>
                  <a:lnTo>
                    <a:pt x="9" y="511"/>
                  </a:lnTo>
                  <a:cubicBezTo>
                    <a:pt x="9" y="510"/>
                    <a:pt x="9" y="510"/>
                    <a:pt x="8" y="509"/>
                  </a:cubicBezTo>
                  <a:lnTo>
                    <a:pt x="0" y="425"/>
                  </a:lnTo>
                  <a:close/>
                  <a:moveTo>
                    <a:pt x="24" y="508"/>
                  </a:moveTo>
                  <a:lnTo>
                    <a:pt x="24" y="506"/>
                  </a:lnTo>
                  <a:lnTo>
                    <a:pt x="46" y="584"/>
                  </a:lnTo>
                  <a:lnTo>
                    <a:pt x="46" y="583"/>
                  </a:lnTo>
                  <a:lnTo>
                    <a:pt x="82" y="654"/>
                  </a:lnTo>
                  <a:lnTo>
                    <a:pt x="81" y="653"/>
                  </a:lnTo>
                  <a:lnTo>
                    <a:pt x="128" y="714"/>
                  </a:lnTo>
                  <a:lnTo>
                    <a:pt x="127" y="713"/>
                  </a:lnTo>
                  <a:lnTo>
                    <a:pt x="183" y="764"/>
                  </a:lnTo>
                  <a:lnTo>
                    <a:pt x="181" y="763"/>
                  </a:lnTo>
                  <a:lnTo>
                    <a:pt x="247" y="801"/>
                  </a:lnTo>
                  <a:lnTo>
                    <a:pt x="246" y="800"/>
                  </a:lnTo>
                  <a:lnTo>
                    <a:pt x="318" y="825"/>
                  </a:lnTo>
                  <a:lnTo>
                    <a:pt x="316" y="825"/>
                  </a:lnTo>
                  <a:lnTo>
                    <a:pt x="393" y="833"/>
                  </a:lnTo>
                  <a:lnTo>
                    <a:pt x="392" y="833"/>
                  </a:lnTo>
                  <a:lnTo>
                    <a:pt x="470" y="825"/>
                  </a:lnTo>
                  <a:lnTo>
                    <a:pt x="468" y="825"/>
                  </a:lnTo>
                  <a:lnTo>
                    <a:pt x="540" y="800"/>
                  </a:lnTo>
                  <a:lnTo>
                    <a:pt x="538" y="801"/>
                  </a:lnTo>
                  <a:lnTo>
                    <a:pt x="603" y="763"/>
                  </a:lnTo>
                  <a:lnTo>
                    <a:pt x="602" y="763"/>
                  </a:lnTo>
                  <a:lnTo>
                    <a:pt x="659" y="712"/>
                  </a:lnTo>
                  <a:lnTo>
                    <a:pt x="658" y="714"/>
                  </a:lnTo>
                  <a:lnTo>
                    <a:pt x="705" y="653"/>
                  </a:lnTo>
                  <a:lnTo>
                    <a:pt x="704" y="654"/>
                  </a:lnTo>
                  <a:lnTo>
                    <a:pt x="739" y="583"/>
                  </a:lnTo>
                  <a:lnTo>
                    <a:pt x="739" y="584"/>
                  </a:lnTo>
                  <a:lnTo>
                    <a:pt x="761" y="506"/>
                  </a:lnTo>
                  <a:lnTo>
                    <a:pt x="760" y="508"/>
                  </a:lnTo>
                  <a:lnTo>
                    <a:pt x="768" y="424"/>
                  </a:lnTo>
                  <a:lnTo>
                    <a:pt x="768" y="425"/>
                  </a:lnTo>
                  <a:lnTo>
                    <a:pt x="760" y="341"/>
                  </a:lnTo>
                  <a:lnTo>
                    <a:pt x="761" y="343"/>
                  </a:lnTo>
                  <a:lnTo>
                    <a:pt x="739" y="265"/>
                  </a:lnTo>
                  <a:lnTo>
                    <a:pt x="739" y="266"/>
                  </a:lnTo>
                  <a:lnTo>
                    <a:pt x="704" y="196"/>
                  </a:lnTo>
                  <a:lnTo>
                    <a:pt x="705" y="197"/>
                  </a:lnTo>
                  <a:lnTo>
                    <a:pt x="658" y="135"/>
                  </a:lnTo>
                  <a:lnTo>
                    <a:pt x="659" y="136"/>
                  </a:lnTo>
                  <a:lnTo>
                    <a:pt x="602" y="85"/>
                  </a:lnTo>
                  <a:lnTo>
                    <a:pt x="603" y="86"/>
                  </a:lnTo>
                  <a:lnTo>
                    <a:pt x="538" y="48"/>
                  </a:lnTo>
                  <a:lnTo>
                    <a:pt x="540" y="49"/>
                  </a:lnTo>
                  <a:lnTo>
                    <a:pt x="468" y="24"/>
                  </a:lnTo>
                  <a:lnTo>
                    <a:pt x="470" y="24"/>
                  </a:lnTo>
                  <a:lnTo>
                    <a:pt x="392" y="16"/>
                  </a:lnTo>
                  <a:lnTo>
                    <a:pt x="393" y="16"/>
                  </a:lnTo>
                  <a:lnTo>
                    <a:pt x="316" y="24"/>
                  </a:lnTo>
                  <a:lnTo>
                    <a:pt x="318" y="24"/>
                  </a:lnTo>
                  <a:lnTo>
                    <a:pt x="246" y="49"/>
                  </a:lnTo>
                  <a:lnTo>
                    <a:pt x="247" y="48"/>
                  </a:lnTo>
                  <a:lnTo>
                    <a:pt x="181" y="86"/>
                  </a:lnTo>
                  <a:lnTo>
                    <a:pt x="183" y="85"/>
                  </a:lnTo>
                  <a:lnTo>
                    <a:pt x="127" y="136"/>
                  </a:lnTo>
                  <a:lnTo>
                    <a:pt x="128" y="135"/>
                  </a:lnTo>
                  <a:lnTo>
                    <a:pt x="81" y="197"/>
                  </a:lnTo>
                  <a:lnTo>
                    <a:pt x="82" y="196"/>
                  </a:lnTo>
                  <a:lnTo>
                    <a:pt x="46" y="266"/>
                  </a:lnTo>
                  <a:lnTo>
                    <a:pt x="46" y="265"/>
                  </a:lnTo>
                  <a:lnTo>
                    <a:pt x="24" y="343"/>
                  </a:lnTo>
                  <a:lnTo>
                    <a:pt x="24" y="341"/>
                  </a:lnTo>
                  <a:lnTo>
                    <a:pt x="16" y="425"/>
                  </a:lnTo>
                  <a:lnTo>
                    <a:pt x="16" y="424"/>
                  </a:lnTo>
                  <a:lnTo>
                    <a:pt x="24" y="508"/>
                  </a:lnTo>
                  <a:close/>
                </a:path>
              </a:pathLst>
            </a:custGeom>
            <a:solidFill>
              <a:srgbClr val="000000"/>
            </a:solidFill>
            <a:ln w="0">
              <a:solidFill>
                <a:srgbClr val="000000"/>
              </a:solidFill>
              <a:round/>
              <a:headEnd/>
              <a:tailEnd/>
            </a:ln>
          </p:spPr>
          <p:txBody>
            <a:bodyPr/>
            <a:lstStyle/>
            <a:p>
              <a:endParaRPr lang="en-US"/>
            </a:p>
          </p:txBody>
        </p:sp>
        <p:sp>
          <p:nvSpPr>
            <p:cNvPr id="42108" name="Rectangle 117"/>
            <p:cNvSpPr>
              <a:spLocks noChangeArrowheads="1"/>
            </p:cNvSpPr>
            <p:nvPr/>
          </p:nvSpPr>
          <p:spPr bwMode="auto">
            <a:xfrm>
              <a:off x="2894" y="1049"/>
              <a:ext cx="153" cy="99"/>
            </a:xfrm>
            <a:prstGeom prst="rect">
              <a:avLst/>
            </a:prstGeom>
            <a:noFill/>
            <a:ln w="9525">
              <a:noFill/>
              <a:miter lim="800000"/>
              <a:headEnd/>
              <a:tailEnd/>
            </a:ln>
          </p:spPr>
          <p:txBody>
            <a:bodyPr wrap="none" lIns="0" tIns="0" rIns="0" bIns="0">
              <a:spAutoFit/>
            </a:bodyPr>
            <a:lstStyle/>
            <a:p>
              <a:r>
                <a:rPr lang="en-US" sz="900">
                  <a:solidFill>
                    <a:srgbClr val="000000"/>
                  </a:solidFill>
                </a:rPr>
                <a:t>DK </a:t>
              </a:r>
              <a:endParaRPr lang="en-US"/>
            </a:p>
          </p:txBody>
        </p:sp>
        <p:sp>
          <p:nvSpPr>
            <p:cNvPr id="42109" name="Rectangle 118"/>
            <p:cNvSpPr>
              <a:spLocks noChangeArrowheads="1"/>
            </p:cNvSpPr>
            <p:nvPr/>
          </p:nvSpPr>
          <p:spPr bwMode="auto">
            <a:xfrm>
              <a:off x="2886" y="1136"/>
              <a:ext cx="153" cy="99"/>
            </a:xfrm>
            <a:prstGeom prst="rect">
              <a:avLst/>
            </a:prstGeom>
            <a:noFill/>
            <a:ln w="9525">
              <a:noFill/>
              <a:miter lim="800000"/>
              <a:headEnd/>
              <a:tailEnd/>
            </a:ln>
          </p:spPr>
          <p:txBody>
            <a:bodyPr wrap="none" lIns="0" tIns="0" rIns="0" bIns="0">
              <a:spAutoFit/>
            </a:bodyPr>
            <a:lstStyle/>
            <a:p>
              <a:r>
                <a:rPr lang="en-US" sz="900">
                  <a:solidFill>
                    <a:srgbClr val="000000"/>
                  </a:solidFill>
                </a:rPr>
                <a:t>(W)</a:t>
              </a:r>
              <a:endParaRPr lang="en-US"/>
            </a:p>
          </p:txBody>
        </p:sp>
        <p:sp>
          <p:nvSpPr>
            <p:cNvPr id="42110" name="Freeform 120"/>
            <p:cNvSpPr>
              <a:spLocks noEditPoints="1"/>
            </p:cNvSpPr>
            <p:nvPr/>
          </p:nvSpPr>
          <p:spPr bwMode="auto">
            <a:xfrm>
              <a:off x="3144" y="2289"/>
              <a:ext cx="225" cy="234"/>
            </a:xfrm>
            <a:custGeom>
              <a:avLst/>
              <a:gdLst>
                <a:gd name="T0" fmla="*/ 0 w 800"/>
                <a:gd name="T1" fmla="*/ 7 h 832"/>
                <a:gd name="T2" fmla="*/ 1 w 800"/>
                <a:gd name="T3" fmla="*/ 6 h 832"/>
                <a:gd name="T4" fmla="*/ 3 w 800"/>
                <a:gd name="T5" fmla="*/ 3 h 832"/>
                <a:gd name="T6" fmla="*/ 4 w 800"/>
                <a:gd name="T7" fmla="*/ 2 h 832"/>
                <a:gd name="T8" fmla="*/ 7 w 800"/>
                <a:gd name="T9" fmla="*/ 0 h 832"/>
                <a:gd name="T10" fmla="*/ 9 w 800"/>
                <a:gd name="T11" fmla="*/ 0 h 832"/>
                <a:gd name="T12" fmla="*/ 12 w 800"/>
                <a:gd name="T13" fmla="*/ 1 h 832"/>
                <a:gd name="T14" fmla="*/ 14 w 800"/>
                <a:gd name="T15" fmla="*/ 2 h 832"/>
                <a:gd name="T16" fmla="*/ 16 w 800"/>
                <a:gd name="T17" fmla="*/ 4 h 832"/>
                <a:gd name="T18" fmla="*/ 17 w 800"/>
                <a:gd name="T19" fmla="*/ 6 h 832"/>
                <a:gd name="T20" fmla="*/ 18 w 800"/>
                <a:gd name="T21" fmla="*/ 9 h 832"/>
                <a:gd name="T22" fmla="*/ 18 w 800"/>
                <a:gd name="T23" fmla="*/ 11 h 832"/>
                <a:gd name="T24" fmla="*/ 16 w 800"/>
                <a:gd name="T25" fmla="*/ 14 h 832"/>
                <a:gd name="T26" fmla="*/ 15 w 800"/>
                <a:gd name="T27" fmla="*/ 16 h 832"/>
                <a:gd name="T28" fmla="*/ 12 w 800"/>
                <a:gd name="T29" fmla="*/ 18 h 832"/>
                <a:gd name="T30" fmla="*/ 11 w 800"/>
                <a:gd name="T31" fmla="*/ 18 h 832"/>
                <a:gd name="T32" fmla="*/ 7 w 800"/>
                <a:gd name="T33" fmla="*/ 18 h 832"/>
                <a:gd name="T34" fmla="*/ 5 w 800"/>
                <a:gd name="T35" fmla="*/ 18 h 832"/>
                <a:gd name="T36" fmla="*/ 3 w 800"/>
                <a:gd name="T37" fmla="*/ 16 h 832"/>
                <a:gd name="T38" fmla="*/ 1 w 800"/>
                <a:gd name="T39" fmla="*/ 14 h 832"/>
                <a:gd name="T40" fmla="*/ 0 w 800"/>
                <a:gd name="T41" fmla="*/ 11 h 832"/>
                <a:gd name="T42" fmla="*/ 1 w 800"/>
                <a:gd name="T43" fmla="*/ 11 h 832"/>
                <a:gd name="T44" fmla="*/ 1 w 800"/>
                <a:gd name="T45" fmla="*/ 13 h 832"/>
                <a:gd name="T46" fmla="*/ 3 w 800"/>
                <a:gd name="T47" fmla="*/ 15 h 832"/>
                <a:gd name="T48" fmla="*/ 4 w 800"/>
                <a:gd name="T49" fmla="*/ 17 h 832"/>
                <a:gd name="T50" fmla="*/ 7 w 800"/>
                <a:gd name="T51" fmla="*/ 18 h 832"/>
                <a:gd name="T52" fmla="*/ 9 w 800"/>
                <a:gd name="T53" fmla="*/ 18 h 832"/>
                <a:gd name="T54" fmla="*/ 12 w 800"/>
                <a:gd name="T55" fmla="*/ 17 h 832"/>
                <a:gd name="T56" fmla="*/ 14 w 800"/>
                <a:gd name="T57" fmla="*/ 17 h 832"/>
                <a:gd name="T58" fmla="*/ 16 w 800"/>
                <a:gd name="T59" fmla="*/ 14 h 832"/>
                <a:gd name="T60" fmla="*/ 17 w 800"/>
                <a:gd name="T61" fmla="*/ 13 h 832"/>
                <a:gd name="T62" fmla="*/ 17 w 800"/>
                <a:gd name="T63" fmla="*/ 9 h 832"/>
                <a:gd name="T64" fmla="*/ 17 w 800"/>
                <a:gd name="T65" fmla="*/ 8 h 832"/>
                <a:gd name="T66" fmla="*/ 16 w 800"/>
                <a:gd name="T67" fmla="*/ 4 h 832"/>
                <a:gd name="T68" fmla="*/ 15 w 800"/>
                <a:gd name="T69" fmla="*/ 3 h 832"/>
                <a:gd name="T70" fmla="*/ 12 w 800"/>
                <a:gd name="T71" fmla="*/ 1 h 832"/>
                <a:gd name="T72" fmla="*/ 11 w 800"/>
                <a:gd name="T73" fmla="*/ 1 h 832"/>
                <a:gd name="T74" fmla="*/ 7 w 800"/>
                <a:gd name="T75" fmla="*/ 1 h 832"/>
                <a:gd name="T76" fmla="*/ 6 w 800"/>
                <a:gd name="T77" fmla="*/ 1 h 832"/>
                <a:gd name="T78" fmla="*/ 3 w 800"/>
                <a:gd name="T79" fmla="*/ 3 h 832"/>
                <a:gd name="T80" fmla="*/ 2 w 800"/>
                <a:gd name="T81" fmla="*/ 4 h 832"/>
                <a:gd name="T82" fmla="*/ 1 w 800"/>
                <a:gd name="T83" fmla="*/ 8 h 832"/>
                <a:gd name="T84" fmla="*/ 0 w 800"/>
                <a:gd name="T85" fmla="*/ 9 h 83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00"/>
                <a:gd name="T130" fmla="*/ 0 h 832"/>
                <a:gd name="T131" fmla="*/ 800 w 800"/>
                <a:gd name="T132" fmla="*/ 832 h 83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00" h="832">
                  <a:moveTo>
                    <a:pt x="0" y="417"/>
                  </a:moveTo>
                  <a:cubicBezTo>
                    <a:pt x="0" y="417"/>
                    <a:pt x="0" y="416"/>
                    <a:pt x="0" y="416"/>
                  </a:cubicBezTo>
                  <a:lnTo>
                    <a:pt x="8" y="334"/>
                  </a:lnTo>
                  <a:cubicBezTo>
                    <a:pt x="9" y="333"/>
                    <a:pt x="9" y="333"/>
                    <a:pt x="9" y="332"/>
                  </a:cubicBezTo>
                  <a:lnTo>
                    <a:pt x="32" y="255"/>
                  </a:lnTo>
                  <a:cubicBezTo>
                    <a:pt x="32" y="255"/>
                    <a:pt x="32" y="254"/>
                    <a:pt x="32" y="254"/>
                  </a:cubicBezTo>
                  <a:lnTo>
                    <a:pt x="68" y="185"/>
                  </a:lnTo>
                  <a:cubicBezTo>
                    <a:pt x="69" y="184"/>
                    <a:pt x="69" y="184"/>
                    <a:pt x="69" y="183"/>
                  </a:cubicBezTo>
                  <a:lnTo>
                    <a:pt x="117" y="123"/>
                  </a:lnTo>
                  <a:cubicBezTo>
                    <a:pt x="118" y="123"/>
                    <a:pt x="118" y="123"/>
                    <a:pt x="118" y="122"/>
                  </a:cubicBezTo>
                  <a:lnTo>
                    <a:pt x="176" y="72"/>
                  </a:lnTo>
                  <a:cubicBezTo>
                    <a:pt x="177" y="72"/>
                    <a:pt x="177" y="72"/>
                    <a:pt x="178" y="72"/>
                  </a:cubicBezTo>
                  <a:lnTo>
                    <a:pt x="245" y="34"/>
                  </a:lnTo>
                  <a:cubicBezTo>
                    <a:pt x="245" y="33"/>
                    <a:pt x="245" y="33"/>
                    <a:pt x="246" y="33"/>
                  </a:cubicBezTo>
                  <a:lnTo>
                    <a:pt x="319" y="9"/>
                  </a:lnTo>
                  <a:cubicBezTo>
                    <a:pt x="320" y="9"/>
                    <a:pt x="320" y="9"/>
                    <a:pt x="321" y="8"/>
                  </a:cubicBezTo>
                  <a:lnTo>
                    <a:pt x="400" y="0"/>
                  </a:lnTo>
                  <a:cubicBezTo>
                    <a:pt x="400" y="0"/>
                    <a:pt x="401" y="0"/>
                    <a:pt x="401" y="0"/>
                  </a:cubicBezTo>
                  <a:lnTo>
                    <a:pt x="480" y="8"/>
                  </a:lnTo>
                  <a:cubicBezTo>
                    <a:pt x="481" y="9"/>
                    <a:pt x="481" y="9"/>
                    <a:pt x="482" y="9"/>
                  </a:cubicBezTo>
                  <a:lnTo>
                    <a:pt x="556" y="33"/>
                  </a:lnTo>
                  <a:cubicBezTo>
                    <a:pt x="556" y="33"/>
                    <a:pt x="557" y="33"/>
                    <a:pt x="557" y="34"/>
                  </a:cubicBezTo>
                  <a:lnTo>
                    <a:pt x="623" y="72"/>
                  </a:lnTo>
                  <a:cubicBezTo>
                    <a:pt x="624" y="72"/>
                    <a:pt x="624" y="72"/>
                    <a:pt x="625" y="72"/>
                  </a:cubicBezTo>
                  <a:lnTo>
                    <a:pt x="683" y="122"/>
                  </a:lnTo>
                  <a:cubicBezTo>
                    <a:pt x="683" y="123"/>
                    <a:pt x="683" y="123"/>
                    <a:pt x="684" y="123"/>
                  </a:cubicBezTo>
                  <a:lnTo>
                    <a:pt x="732" y="183"/>
                  </a:lnTo>
                  <a:cubicBezTo>
                    <a:pt x="732" y="184"/>
                    <a:pt x="732" y="184"/>
                    <a:pt x="733" y="185"/>
                  </a:cubicBezTo>
                  <a:lnTo>
                    <a:pt x="769" y="254"/>
                  </a:lnTo>
                  <a:cubicBezTo>
                    <a:pt x="769" y="254"/>
                    <a:pt x="769" y="255"/>
                    <a:pt x="769" y="255"/>
                  </a:cubicBezTo>
                  <a:lnTo>
                    <a:pt x="792" y="332"/>
                  </a:lnTo>
                  <a:cubicBezTo>
                    <a:pt x="792" y="333"/>
                    <a:pt x="792" y="333"/>
                    <a:pt x="792" y="334"/>
                  </a:cubicBezTo>
                  <a:lnTo>
                    <a:pt x="800" y="416"/>
                  </a:lnTo>
                  <a:cubicBezTo>
                    <a:pt x="800" y="416"/>
                    <a:pt x="800" y="417"/>
                    <a:pt x="800" y="417"/>
                  </a:cubicBezTo>
                  <a:lnTo>
                    <a:pt x="792" y="499"/>
                  </a:lnTo>
                  <a:cubicBezTo>
                    <a:pt x="792" y="500"/>
                    <a:pt x="792" y="500"/>
                    <a:pt x="792" y="501"/>
                  </a:cubicBezTo>
                  <a:lnTo>
                    <a:pt x="769" y="578"/>
                  </a:lnTo>
                  <a:cubicBezTo>
                    <a:pt x="769" y="578"/>
                    <a:pt x="769" y="579"/>
                    <a:pt x="769" y="579"/>
                  </a:cubicBezTo>
                  <a:lnTo>
                    <a:pt x="733" y="648"/>
                  </a:lnTo>
                  <a:cubicBezTo>
                    <a:pt x="732" y="649"/>
                    <a:pt x="732" y="649"/>
                    <a:pt x="732" y="649"/>
                  </a:cubicBezTo>
                  <a:lnTo>
                    <a:pt x="684" y="710"/>
                  </a:lnTo>
                  <a:cubicBezTo>
                    <a:pt x="683" y="711"/>
                    <a:pt x="683" y="711"/>
                    <a:pt x="683" y="712"/>
                  </a:cubicBezTo>
                  <a:lnTo>
                    <a:pt x="625" y="761"/>
                  </a:lnTo>
                  <a:cubicBezTo>
                    <a:pt x="624" y="761"/>
                    <a:pt x="624" y="761"/>
                    <a:pt x="623" y="761"/>
                  </a:cubicBezTo>
                  <a:lnTo>
                    <a:pt x="557" y="799"/>
                  </a:lnTo>
                  <a:cubicBezTo>
                    <a:pt x="557" y="800"/>
                    <a:pt x="556" y="800"/>
                    <a:pt x="556" y="800"/>
                  </a:cubicBezTo>
                  <a:lnTo>
                    <a:pt x="482" y="824"/>
                  </a:lnTo>
                  <a:cubicBezTo>
                    <a:pt x="481" y="824"/>
                    <a:pt x="481" y="824"/>
                    <a:pt x="480" y="824"/>
                  </a:cubicBezTo>
                  <a:lnTo>
                    <a:pt x="401" y="832"/>
                  </a:lnTo>
                  <a:cubicBezTo>
                    <a:pt x="401" y="832"/>
                    <a:pt x="400" y="832"/>
                    <a:pt x="400" y="832"/>
                  </a:cubicBezTo>
                  <a:lnTo>
                    <a:pt x="321" y="824"/>
                  </a:lnTo>
                  <a:cubicBezTo>
                    <a:pt x="320" y="824"/>
                    <a:pt x="320" y="824"/>
                    <a:pt x="319" y="824"/>
                  </a:cubicBezTo>
                  <a:lnTo>
                    <a:pt x="246" y="800"/>
                  </a:lnTo>
                  <a:cubicBezTo>
                    <a:pt x="245" y="800"/>
                    <a:pt x="245" y="800"/>
                    <a:pt x="245" y="799"/>
                  </a:cubicBezTo>
                  <a:lnTo>
                    <a:pt x="178" y="761"/>
                  </a:lnTo>
                  <a:cubicBezTo>
                    <a:pt x="177" y="761"/>
                    <a:pt x="177" y="761"/>
                    <a:pt x="176" y="761"/>
                  </a:cubicBezTo>
                  <a:lnTo>
                    <a:pt x="118" y="712"/>
                  </a:lnTo>
                  <a:cubicBezTo>
                    <a:pt x="118" y="711"/>
                    <a:pt x="118" y="711"/>
                    <a:pt x="117" y="710"/>
                  </a:cubicBezTo>
                  <a:lnTo>
                    <a:pt x="69" y="649"/>
                  </a:lnTo>
                  <a:cubicBezTo>
                    <a:pt x="69" y="649"/>
                    <a:pt x="69" y="649"/>
                    <a:pt x="68" y="648"/>
                  </a:cubicBezTo>
                  <a:lnTo>
                    <a:pt x="32" y="579"/>
                  </a:lnTo>
                  <a:cubicBezTo>
                    <a:pt x="32" y="579"/>
                    <a:pt x="32" y="578"/>
                    <a:pt x="32" y="578"/>
                  </a:cubicBezTo>
                  <a:lnTo>
                    <a:pt x="9" y="501"/>
                  </a:lnTo>
                  <a:cubicBezTo>
                    <a:pt x="9" y="500"/>
                    <a:pt x="9" y="500"/>
                    <a:pt x="8" y="499"/>
                  </a:cubicBezTo>
                  <a:lnTo>
                    <a:pt x="0" y="417"/>
                  </a:lnTo>
                  <a:close/>
                  <a:moveTo>
                    <a:pt x="24" y="498"/>
                  </a:moveTo>
                  <a:lnTo>
                    <a:pt x="24" y="496"/>
                  </a:lnTo>
                  <a:lnTo>
                    <a:pt x="47" y="573"/>
                  </a:lnTo>
                  <a:lnTo>
                    <a:pt x="47" y="572"/>
                  </a:lnTo>
                  <a:lnTo>
                    <a:pt x="83" y="641"/>
                  </a:lnTo>
                  <a:lnTo>
                    <a:pt x="82" y="640"/>
                  </a:lnTo>
                  <a:lnTo>
                    <a:pt x="130" y="701"/>
                  </a:lnTo>
                  <a:lnTo>
                    <a:pt x="129" y="699"/>
                  </a:lnTo>
                  <a:lnTo>
                    <a:pt x="187" y="748"/>
                  </a:lnTo>
                  <a:lnTo>
                    <a:pt x="185" y="748"/>
                  </a:lnTo>
                  <a:lnTo>
                    <a:pt x="252" y="786"/>
                  </a:lnTo>
                  <a:lnTo>
                    <a:pt x="251" y="785"/>
                  </a:lnTo>
                  <a:lnTo>
                    <a:pt x="324" y="809"/>
                  </a:lnTo>
                  <a:lnTo>
                    <a:pt x="322" y="808"/>
                  </a:lnTo>
                  <a:lnTo>
                    <a:pt x="401" y="816"/>
                  </a:lnTo>
                  <a:lnTo>
                    <a:pt x="400" y="816"/>
                  </a:lnTo>
                  <a:lnTo>
                    <a:pt x="479" y="808"/>
                  </a:lnTo>
                  <a:lnTo>
                    <a:pt x="477" y="809"/>
                  </a:lnTo>
                  <a:lnTo>
                    <a:pt x="551" y="785"/>
                  </a:lnTo>
                  <a:lnTo>
                    <a:pt x="549" y="786"/>
                  </a:lnTo>
                  <a:lnTo>
                    <a:pt x="615" y="748"/>
                  </a:lnTo>
                  <a:lnTo>
                    <a:pt x="614" y="748"/>
                  </a:lnTo>
                  <a:lnTo>
                    <a:pt x="672" y="699"/>
                  </a:lnTo>
                  <a:lnTo>
                    <a:pt x="671" y="701"/>
                  </a:lnTo>
                  <a:lnTo>
                    <a:pt x="719" y="640"/>
                  </a:lnTo>
                  <a:lnTo>
                    <a:pt x="718" y="641"/>
                  </a:lnTo>
                  <a:lnTo>
                    <a:pt x="754" y="572"/>
                  </a:lnTo>
                  <a:lnTo>
                    <a:pt x="754" y="573"/>
                  </a:lnTo>
                  <a:lnTo>
                    <a:pt x="777" y="496"/>
                  </a:lnTo>
                  <a:lnTo>
                    <a:pt x="776" y="498"/>
                  </a:lnTo>
                  <a:lnTo>
                    <a:pt x="784" y="416"/>
                  </a:lnTo>
                  <a:lnTo>
                    <a:pt x="784" y="417"/>
                  </a:lnTo>
                  <a:lnTo>
                    <a:pt x="776" y="335"/>
                  </a:lnTo>
                  <a:lnTo>
                    <a:pt x="777" y="337"/>
                  </a:lnTo>
                  <a:lnTo>
                    <a:pt x="754" y="260"/>
                  </a:lnTo>
                  <a:lnTo>
                    <a:pt x="754" y="261"/>
                  </a:lnTo>
                  <a:lnTo>
                    <a:pt x="718" y="192"/>
                  </a:lnTo>
                  <a:lnTo>
                    <a:pt x="719" y="193"/>
                  </a:lnTo>
                  <a:lnTo>
                    <a:pt x="671" y="133"/>
                  </a:lnTo>
                  <a:lnTo>
                    <a:pt x="672" y="135"/>
                  </a:lnTo>
                  <a:lnTo>
                    <a:pt x="614" y="85"/>
                  </a:lnTo>
                  <a:lnTo>
                    <a:pt x="615" y="85"/>
                  </a:lnTo>
                  <a:lnTo>
                    <a:pt x="549" y="47"/>
                  </a:lnTo>
                  <a:lnTo>
                    <a:pt x="551" y="48"/>
                  </a:lnTo>
                  <a:lnTo>
                    <a:pt x="477" y="24"/>
                  </a:lnTo>
                  <a:lnTo>
                    <a:pt x="479" y="24"/>
                  </a:lnTo>
                  <a:lnTo>
                    <a:pt x="400" y="16"/>
                  </a:lnTo>
                  <a:lnTo>
                    <a:pt x="401" y="16"/>
                  </a:lnTo>
                  <a:lnTo>
                    <a:pt x="322" y="24"/>
                  </a:lnTo>
                  <a:lnTo>
                    <a:pt x="324" y="24"/>
                  </a:lnTo>
                  <a:lnTo>
                    <a:pt x="251" y="48"/>
                  </a:lnTo>
                  <a:lnTo>
                    <a:pt x="252" y="47"/>
                  </a:lnTo>
                  <a:lnTo>
                    <a:pt x="185" y="85"/>
                  </a:lnTo>
                  <a:lnTo>
                    <a:pt x="187" y="85"/>
                  </a:lnTo>
                  <a:lnTo>
                    <a:pt x="129" y="135"/>
                  </a:lnTo>
                  <a:lnTo>
                    <a:pt x="130" y="133"/>
                  </a:lnTo>
                  <a:lnTo>
                    <a:pt x="82" y="193"/>
                  </a:lnTo>
                  <a:lnTo>
                    <a:pt x="83" y="192"/>
                  </a:lnTo>
                  <a:lnTo>
                    <a:pt x="47" y="261"/>
                  </a:lnTo>
                  <a:lnTo>
                    <a:pt x="47" y="260"/>
                  </a:lnTo>
                  <a:lnTo>
                    <a:pt x="24" y="337"/>
                  </a:lnTo>
                  <a:lnTo>
                    <a:pt x="24" y="335"/>
                  </a:lnTo>
                  <a:lnTo>
                    <a:pt x="16" y="417"/>
                  </a:lnTo>
                  <a:lnTo>
                    <a:pt x="16" y="416"/>
                  </a:lnTo>
                  <a:lnTo>
                    <a:pt x="24" y="498"/>
                  </a:lnTo>
                  <a:close/>
                </a:path>
              </a:pathLst>
            </a:custGeom>
            <a:solidFill>
              <a:srgbClr val="00FF04"/>
            </a:solidFill>
            <a:ln w="0">
              <a:solidFill>
                <a:srgbClr val="000000"/>
              </a:solidFill>
              <a:round/>
              <a:headEnd/>
              <a:tailEnd/>
            </a:ln>
          </p:spPr>
          <p:txBody>
            <a:bodyPr/>
            <a:lstStyle/>
            <a:p>
              <a:endParaRPr lang="en-US"/>
            </a:p>
          </p:txBody>
        </p:sp>
        <p:sp>
          <p:nvSpPr>
            <p:cNvPr id="42111" name="Rectangle 123"/>
            <p:cNvSpPr>
              <a:spLocks noChangeArrowheads="1"/>
            </p:cNvSpPr>
            <p:nvPr/>
          </p:nvSpPr>
          <p:spPr bwMode="auto">
            <a:xfrm>
              <a:off x="3207" y="2341"/>
              <a:ext cx="135" cy="108"/>
            </a:xfrm>
            <a:prstGeom prst="rect">
              <a:avLst/>
            </a:prstGeom>
            <a:noFill/>
            <a:ln w="9525">
              <a:noFill/>
              <a:miter lim="800000"/>
              <a:headEnd/>
              <a:tailEnd/>
            </a:ln>
          </p:spPr>
          <p:txBody>
            <a:bodyPr wrap="none" lIns="0" tIns="0" rIns="0" bIns="0">
              <a:spAutoFit/>
            </a:bodyPr>
            <a:lstStyle/>
            <a:p>
              <a:r>
                <a:rPr lang="en-US" sz="1000">
                  <a:solidFill>
                    <a:srgbClr val="000000"/>
                  </a:solidFill>
                </a:rPr>
                <a:t>SL</a:t>
              </a:r>
              <a:endParaRPr lang="en-US"/>
            </a:p>
          </p:txBody>
        </p:sp>
        <p:sp>
          <p:nvSpPr>
            <p:cNvPr id="42112" name="Freeform 124"/>
            <p:cNvSpPr>
              <a:spLocks/>
            </p:cNvSpPr>
            <p:nvPr/>
          </p:nvSpPr>
          <p:spPr bwMode="auto">
            <a:xfrm>
              <a:off x="1697" y="1269"/>
              <a:ext cx="383" cy="383"/>
            </a:xfrm>
            <a:custGeom>
              <a:avLst/>
              <a:gdLst>
                <a:gd name="T0" fmla="*/ 0 w 1360"/>
                <a:gd name="T1" fmla="*/ 15 h 1360"/>
                <a:gd name="T2" fmla="*/ 15 w 1360"/>
                <a:gd name="T3" fmla="*/ 0 h 1360"/>
                <a:gd name="T4" fmla="*/ 15 w 1360"/>
                <a:gd name="T5" fmla="*/ 0 h 1360"/>
                <a:gd name="T6" fmla="*/ 15 w 1360"/>
                <a:gd name="T7" fmla="*/ 0 h 1360"/>
                <a:gd name="T8" fmla="*/ 30 w 1360"/>
                <a:gd name="T9" fmla="*/ 15 h 1360"/>
                <a:gd name="T10" fmla="*/ 30 w 1360"/>
                <a:gd name="T11" fmla="*/ 15 h 1360"/>
                <a:gd name="T12" fmla="*/ 30 w 1360"/>
                <a:gd name="T13" fmla="*/ 15 h 1360"/>
                <a:gd name="T14" fmla="*/ 15 w 1360"/>
                <a:gd name="T15" fmla="*/ 30 h 1360"/>
                <a:gd name="T16" fmla="*/ 15 w 1360"/>
                <a:gd name="T17" fmla="*/ 30 h 1360"/>
                <a:gd name="T18" fmla="*/ 15 w 1360"/>
                <a:gd name="T19" fmla="*/ 30 h 1360"/>
                <a:gd name="T20" fmla="*/ 0 w 1360"/>
                <a:gd name="T21" fmla="*/ 15 h 1360"/>
                <a:gd name="T22" fmla="*/ 0 w 1360"/>
                <a:gd name="T23" fmla="*/ 15 h 13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60"/>
                <a:gd name="T37" fmla="*/ 0 h 1360"/>
                <a:gd name="T38" fmla="*/ 1360 w 1360"/>
                <a:gd name="T39" fmla="*/ 1360 h 13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60" h="1360">
                  <a:moveTo>
                    <a:pt x="0" y="680"/>
                  </a:moveTo>
                  <a:cubicBezTo>
                    <a:pt x="0" y="305"/>
                    <a:pt x="305" y="0"/>
                    <a:pt x="680" y="0"/>
                  </a:cubicBezTo>
                  <a:cubicBezTo>
                    <a:pt x="680" y="0"/>
                    <a:pt x="680" y="0"/>
                    <a:pt x="680" y="0"/>
                  </a:cubicBezTo>
                  <a:cubicBezTo>
                    <a:pt x="1056" y="0"/>
                    <a:pt x="1360" y="305"/>
                    <a:pt x="1360" y="680"/>
                  </a:cubicBezTo>
                  <a:cubicBezTo>
                    <a:pt x="1360" y="680"/>
                    <a:pt x="1360" y="680"/>
                    <a:pt x="1360" y="680"/>
                  </a:cubicBezTo>
                  <a:cubicBezTo>
                    <a:pt x="1360" y="1056"/>
                    <a:pt x="1056" y="1360"/>
                    <a:pt x="680" y="1360"/>
                  </a:cubicBezTo>
                  <a:cubicBezTo>
                    <a:pt x="680" y="1360"/>
                    <a:pt x="680" y="1360"/>
                    <a:pt x="680" y="1360"/>
                  </a:cubicBezTo>
                  <a:cubicBezTo>
                    <a:pt x="305" y="1360"/>
                    <a:pt x="0" y="1056"/>
                    <a:pt x="0" y="680"/>
                  </a:cubicBezTo>
                  <a:cubicBezTo>
                    <a:pt x="0" y="680"/>
                    <a:pt x="0" y="680"/>
                    <a:pt x="0" y="680"/>
                  </a:cubicBezTo>
                  <a:close/>
                </a:path>
              </a:pathLst>
            </a:custGeom>
            <a:solidFill>
              <a:srgbClr val="FFCC99"/>
            </a:solidFill>
            <a:ln w="0">
              <a:solidFill>
                <a:srgbClr val="000000"/>
              </a:solidFill>
              <a:round/>
              <a:headEnd/>
              <a:tailEnd/>
            </a:ln>
          </p:spPr>
          <p:txBody>
            <a:bodyPr/>
            <a:lstStyle/>
            <a:p>
              <a:endParaRPr lang="en-US"/>
            </a:p>
          </p:txBody>
        </p:sp>
        <p:sp>
          <p:nvSpPr>
            <p:cNvPr id="42113" name="Freeform 125"/>
            <p:cNvSpPr>
              <a:spLocks noEditPoints="1"/>
            </p:cNvSpPr>
            <p:nvPr/>
          </p:nvSpPr>
          <p:spPr bwMode="auto">
            <a:xfrm>
              <a:off x="1695" y="1267"/>
              <a:ext cx="387" cy="387"/>
            </a:xfrm>
            <a:custGeom>
              <a:avLst/>
              <a:gdLst>
                <a:gd name="T0" fmla="*/ 0 w 1376"/>
                <a:gd name="T1" fmla="*/ 12 h 1376"/>
                <a:gd name="T2" fmla="*/ 3 w 1376"/>
                <a:gd name="T3" fmla="*/ 7 h 1376"/>
                <a:gd name="T4" fmla="*/ 5 w 1376"/>
                <a:gd name="T5" fmla="*/ 5 h 1376"/>
                <a:gd name="T6" fmla="*/ 9 w 1376"/>
                <a:gd name="T7" fmla="*/ 1 h 1376"/>
                <a:gd name="T8" fmla="*/ 14 w 1376"/>
                <a:gd name="T9" fmla="*/ 0 h 1376"/>
                <a:gd name="T10" fmla="*/ 19 w 1376"/>
                <a:gd name="T11" fmla="*/ 0 h 1376"/>
                <a:gd name="T12" fmla="*/ 21 w 1376"/>
                <a:gd name="T13" fmla="*/ 1 h 1376"/>
                <a:gd name="T14" fmla="*/ 26 w 1376"/>
                <a:gd name="T15" fmla="*/ 5 h 1376"/>
                <a:gd name="T16" fmla="*/ 28 w 1376"/>
                <a:gd name="T17" fmla="*/ 7 h 1376"/>
                <a:gd name="T18" fmla="*/ 30 w 1376"/>
                <a:gd name="T19" fmla="*/ 11 h 1376"/>
                <a:gd name="T20" fmla="*/ 31 w 1376"/>
                <a:gd name="T21" fmla="*/ 15 h 1376"/>
                <a:gd name="T22" fmla="*/ 30 w 1376"/>
                <a:gd name="T23" fmla="*/ 20 h 1376"/>
                <a:gd name="T24" fmla="*/ 28 w 1376"/>
                <a:gd name="T25" fmla="*/ 24 h 1376"/>
                <a:gd name="T26" fmla="*/ 26 w 1376"/>
                <a:gd name="T27" fmla="*/ 26 h 1376"/>
                <a:gd name="T28" fmla="*/ 21 w 1376"/>
                <a:gd name="T29" fmla="*/ 30 h 1376"/>
                <a:gd name="T30" fmla="*/ 19 w 1376"/>
                <a:gd name="T31" fmla="*/ 30 h 1376"/>
                <a:gd name="T32" fmla="*/ 14 w 1376"/>
                <a:gd name="T33" fmla="*/ 31 h 1376"/>
                <a:gd name="T34" fmla="*/ 9 w 1376"/>
                <a:gd name="T35" fmla="*/ 30 h 1376"/>
                <a:gd name="T36" fmla="*/ 7 w 1376"/>
                <a:gd name="T37" fmla="*/ 28 h 1376"/>
                <a:gd name="T38" fmla="*/ 3 w 1376"/>
                <a:gd name="T39" fmla="*/ 24 h 1376"/>
                <a:gd name="T40" fmla="*/ 1 w 1376"/>
                <a:gd name="T41" fmla="*/ 21 h 1376"/>
                <a:gd name="T42" fmla="*/ 0 w 1376"/>
                <a:gd name="T43" fmla="*/ 17 h 1376"/>
                <a:gd name="T44" fmla="*/ 1 w 1376"/>
                <a:gd name="T45" fmla="*/ 18 h 1376"/>
                <a:gd name="T46" fmla="*/ 2 w 1376"/>
                <a:gd name="T47" fmla="*/ 21 h 1376"/>
                <a:gd name="T48" fmla="*/ 5 w 1376"/>
                <a:gd name="T49" fmla="*/ 26 h 1376"/>
                <a:gd name="T50" fmla="*/ 7 w 1376"/>
                <a:gd name="T51" fmla="*/ 28 h 1376"/>
                <a:gd name="T52" fmla="*/ 11 w 1376"/>
                <a:gd name="T53" fmla="*/ 30 h 1376"/>
                <a:gd name="T54" fmla="*/ 15 w 1376"/>
                <a:gd name="T55" fmla="*/ 30 h 1376"/>
                <a:gd name="T56" fmla="*/ 20 w 1376"/>
                <a:gd name="T57" fmla="*/ 30 h 1376"/>
                <a:gd name="T58" fmla="*/ 24 w 1376"/>
                <a:gd name="T59" fmla="*/ 28 h 1376"/>
                <a:gd name="T60" fmla="*/ 26 w 1376"/>
                <a:gd name="T61" fmla="*/ 26 h 1376"/>
                <a:gd name="T62" fmla="*/ 29 w 1376"/>
                <a:gd name="T63" fmla="*/ 21 h 1376"/>
                <a:gd name="T64" fmla="*/ 30 w 1376"/>
                <a:gd name="T65" fmla="*/ 18 h 1376"/>
                <a:gd name="T66" fmla="*/ 30 w 1376"/>
                <a:gd name="T67" fmla="*/ 14 h 1376"/>
                <a:gd name="T68" fmla="*/ 29 w 1376"/>
                <a:gd name="T69" fmla="*/ 10 h 1376"/>
                <a:gd name="T70" fmla="*/ 28 w 1376"/>
                <a:gd name="T71" fmla="*/ 7 h 1376"/>
                <a:gd name="T72" fmla="*/ 24 w 1376"/>
                <a:gd name="T73" fmla="*/ 3 h 1376"/>
                <a:gd name="T74" fmla="*/ 21 w 1376"/>
                <a:gd name="T75" fmla="*/ 2 h 1376"/>
                <a:gd name="T76" fmla="*/ 17 w 1376"/>
                <a:gd name="T77" fmla="*/ 1 h 1376"/>
                <a:gd name="T78" fmla="*/ 12 w 1376"/>
                <a:gd name="T79" fmla="*/ 1 h 1376"/>
                <a:gd name="T80" fmla="*/ 7 w 1376"/>
                <a:gd name="T81" fmla="*/ 3 h 1376"/>
                <a:gd name="T82" fmla="*/ 5 w 1376"/>
                <a:gd name="T83" fmla="*/ 5 h 1376"/>
                <a:gd name="T84" fmla="*/ 2 w 1376"/>
                <a:gd name="T85" fmla="*/ 10 h 1376"/>
                <a:gd name="T86" fmla="*/ 1 w 1376"/>
                <a:gd name="T87" fmla="*/ 14 h 137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376"/>
                <a:gd name="T133" fmla="*/ 0 h 1376"/>
                <a:gd name="T134" fmla="*/ 1376 w 1376"/>
                <a:gd name="T135" fmla="*/ 1376 h 137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376" h="1376">
                  <a:moveTo>
                    <a:pt x="0" y="689"/>
                  </a:moveTo>
                  <a:lnTo>
                    <a:pt x="4" y="619"/>
                  </a:lnTo>
                  <a:lnTo>
                    <a:pt x="15" y="550"/>
                  </a:lnTo>
                  <a:lnTo>
                    <a:pt x="32" y="484"/>
                  </a:lnTo>
                  <a:lnTo>
                    <a:pt x="55" y="422"/>
                  </a:lnTo>
                  <a:lnTo>
                    <a:pt x="117" y="305"/>
                  </a:lnTo>
                  <a:cubicBezTo>
                    <a:pt x="118" y="304"/>
                    <a:pt x="118" y="304"/>
                    <a:pt x="118" y="303"/>
                  </a:cubicBezTo>
                  <a:lnTo>
                    <a:pt x="201" y="202"/>
                  </a:lnTo>
                  <a:cubicBezTo>
                    <a:pt x="202" y="202"/>
                    <a:pt x="202" y="202"/>
                    <a:pt x="202" y="201"/>
                  </a:cubicBezTo>
                  <a:lnTo>
                    <a:pt x="303" y="118"/>
                  </a:lnTo>
                  <a:cubicBezTo>
                    <a:pt x="304" y="118"/>
                    <a:pt x="304" y="118"/>
                    <a:pt x="305" y="117"/>
                  </a:cubicBezTo>
                  <a:lnTo>
                    <a:pt x="421" y="55"/>
                  </a:lnTo>
                  <a:lnTo>
                    <a:pt x="484" y="32"/>
                  </a:lnTo>
                  <a:lnTo>
                    <a:pt x="549" y="15"/>
                  </a:lnTo>
                  <a:lnTo>
                    <a:pt x="618" y="5"/>
                  </a:lnTo>
                  <a:lnTo>
                    <a:pt x="688" y="0"/>
                  </a:lnTo>
                  <a:lnTo>
                    <a:pt x="759" y="4"/>
                  </a:lnTo>
                  <a:lnTo>
                    <a:pt x="827" y="15"/>
                  </a:lnTo>
                  <a:lnTo>
                    <a:pt x="892" y="32"/>
                  </a:lnTo>
                  <a:lnTo>
                    <a:pt x="956" y="55"/>
                  </a:lnTo>
                  <a:cubicBezTo>
                    <a:pt x="957" y="55"/>
                    <a:pt x="957" y="55"/>
                    <a:pt x="957" y="55"/>
                  </a:cubicBezTo>
                  <a:lnTo>
                    <a:pt x="1072" y="117"/>
                  </a:lnTo>
                  <a:cubicBezTo>
                    <a:pt x="1073" y="118"/>
                    <a:pt x="1073" y="118"/>
                    <a:pt x="1074" y="118"/>
                  </a:cubicBezTo>
                  <a:lnTo>
                    <a:pt x="1175" y="201"/>
                  </a:lnTo>
                  <a:cubicBezTo>
                    <a:pt x="1175" y="202"/>
                    <a:pt x="1175" y="202"/>
                    <a:pt x="1176" y="202"/>
                  </a:cubicBezTo>
                  <a:lnTo>
                    <a:pt x="1259" y="303"/>
                  </a:lnTo>
                  <a:cubicBezTo>
                    <a:pt x="1259" y="304"/>
                    <a:pt x="1259" y="304"/>
                    <a:pt x="1260" y="305"/>
                  </a:cubicBezTo>
                  <a:lnTo>
                    <a:pt x="1323" y="421"/>
                  </a:lnTo>
                  <a:cubicBezTo>
                    <a:pt x="1323" y="421"/>
                    <a:pt x="1323" y="421"/>
                    <a:pt x="1323" y="422"/>
                  </a:cubicBezTo>
                  <a:lnTo>
                    <a:pt x="1345" y="484"/>
                  </a:lnTo>
                  <a:lnTo>
                    <a:pt x="1362" y="549"/>
                  </a:lnTo>
                  <a:lnTo>
                    <a:pt x="1372" y="618"/>
                  </a:lnTo>
                  <a:lnTo>
                    <a:pt x="1376" y="688"/>
                  </a:lnTo>
                  <a:lnTo>
                    <a:pt x="1372" y="759"/>
                  </a:lnTo>
                  <a:lnTo>
                    <a:pt x="1362" y="827"/>
                  </a:lnTo>
                  <a:lnTo>
                    <a:pt x="1345" y="892"/>
                  </a:lnTo>
                  <a:lnTo>
                    <a:pt x="1323" y="956"/>
                  </a:lnTo>
                  <a:cubicBezTo>
                    <a:pt x="1323" y="957"/>
                    <a:pt x="1323" y="957"/>
                    <a:pt x="1322" y="957"/>
                  </a:cubicBezTo>
                  <a:lnTo>
                    <a:pt x="1259" y="1072"/>
                  </a:lnTo>
                  <a:cubicBezTo>
                    <a:pt x="1259" y="1073"/>
                    <a:pt x="1259" y="1073"/>
                    <a:pt x="1259" y="1074"/>
                  </a:cubicBezTo>
                  <a:lnTo>
                    <a:pt x="1176" y="1175"/>
                  </a:lnTo>
                  <a:cubicBezTo>
                    <a:pt x="1175" y="1175"/>
                    <a:pt x="1175" y="1175"/>
                    <a:pt x="1175" y="1176"/>
                  </a:cubicBezTo>
                  <a:lnTo>
                    <a:pt x="1074" y="1259"/>
                  </a:lnTo>
                  <a:cubicBezTo>
                    <a:pt x="1073" y="1259"/>
                    <a:pt x="1073" y="1259"/>
                    <a:pt x="1072" y="1259"/>
                  </a:cubicBezTo>
                  <a:lnTo>
                    <a:pt x="957" y="1322"/>
                  </a:lnTo>
                  <a:cubicBezTo>
                    <a:pt x="957" y="1323"/>
                    <a:pt x="957" y="1323"/>
                    <a:pt x="956" y="1323"/>
                  </a:cubicBezTo>
                  <a:lnTo>
                    <a:pt x="893" y="1345"/>
                  </a:lnTo>
                  <a:lnTo>
                    <a:pt x="827" y="1362"/>
                  </a:lnTo>
                  <a:lnTo>
                    <a:pt x="760" y="1372"/>
                  </a:lnTo>
                  <a:lnTo>
                    <a:pt x="689" y="1376"/>
                  </a:lnTo>
                  <a:lnTo>
                    <a:pt x="619" y="1372"/>
                  </a:lnTo>
                  <a:lnTo>
                    <a:pt x="550" y="1362"/>
                  </a:lnTo>
                  <a:lnTo>
                    <a:pt x="484" y="1345"/>
                  </a:lnTo>
                  <a:lnTo>
                    <a:pt x="422" y="1323"/>
                  </a:lnTo>
                  <a:cubicBezTo>
                    <a:pt x="421" y="1323"/>
                    <a:pt x="421" y="1323"/>
                    <a:pt x="421" y="1323"/>
                  </a:cubicBezTo>
                  <a:lnTo>
                    <a:pt x="305" y="1260"/>
                  </a:lnTo>
                  <a:cubicBezTo>
                    <a:pt x="304" y="1259"/>
                    <a:pt x="304" y="1259"/>
                    <a:pt x="303" y="1259"/>
                  </a:cubicBezTo>
                  <a:lnTo>
                    <a:pt x="202" y="1176"/>
                  </a:lnTo>
                  <a:cubicBezTo>
                    <a:pt x="202" y="1175"/>
                    <a:pt x="202" y="1175"/>
                    <a:pt x="201" y="1175"/>
                  </a:cubicBezTo>
                  <a:lnTo>
                    <a:pt x="118" y="1074"/>
                  </a:lnTo>
                  <a:cubicBezTo>
                    <a:pt x="118" y="1073"/>
                    <a:pt x="118" y="1073"/>
                    <a:pt x="117" y="1072"/>
                  </a:cubicBezTo>
                  <a:lnTo>
                    <a:pt x="55" y="957"/>
                  </a:lnTo>
                  <a:cubicBezTo>
                    <a:pt x="55" y="957"/>
                    <a:pt x="55" y="957"/>
                    <a:pt x="55" y="956"/>
                  </a:cubicBezTo>
                  <a:lnTo>
                    <a:pt x="32" y="893"/>
                  </a:lnTo>
                  <a:lnTo>
                    <a:pt x="15" y="827"/>
                  </a:lnTo>
                  <a:lnTo>
                    <a:pt x="5" y="760"/>
                  </a:lnTo>
                  <a:lnTo>
                    <a:pt x="0" y="689"/>
                  </a:lnTo>
                  <a:close/>
                  <a:moveTo>
                    <a:pt x="20" y="757"/>
                  </a:moveTo>
                  <a:lnTo>
                    <a:pt x="30" y="823"/>
                  </a:lnTo>
                  <a:lnTo>
                    <a:pt x="47" y="888"/>
                  </a:lnTo>
                  <a:lnTo>
                    <a:pt x="70" y="951"/>
                  </a:lnTo>
                  <a:lnTo>
                    <a:pt x="70" y="950"/>
                  </a:lnTo>
                  <a:lnTo>
                    <a:pt x="132" y="1065"/>
                  </a:lnTo>
                  <a:lnTo>
                    <a:pt x="131" y="1063"/>
                  </a:lnTo>
                  <a:lnTo>
                    <a:pt x="214" y="1164"/>
                  </a:lnTo>
                  <a:lnTo>
                    <a:pt x="213" y="1163"/>
                  </a:lnTo>
                  <a:lnTo>
                    <a:pt x="314" y="1246"/>
                  </a:lnTo>
                  <a:lnTo>
                    <a:pt x="312" y="1245"/>
                  </a:lnTo>
                  <a:lnTo>
                    <a:pt x="428" y="1308"/>
                  </a:lnTo>
                  <a:lnTo>
                    <a:pt x="427" y="1308"/>
                  </a:lnTo>
                  <a:lnTo>
                    <a:pt x="488" y="1330"/>
                  </a:lnTo>
                  <a:lnTo>
                    <a:pt x="553" y="1347"/>
                  </a:lnTo>
                  <a:lnTo>
                    <a:pt x="620" y="1356"/>
                  </a:lnTo>
                  <a:lnTo>
                    <a:pt x="688" y="1360"/>
                  </a:lnTo>
                  <a:lnTo>
                    <a:pt x="757" y="1357"/>
                  </a:lnTo>
                  <a:lnTo>
                    <a:pt x="823" y="1347"/>
                  </a:lnTo>
                  <a:lnTo>
                    <a:pt x="888" y="1330"/>
                  </a:lnTo>
                  <a:lnTo>
                    <a:pt x="951" y="1308"/>
                  </a:lnTo>
                  <a:lnTo>
                    <a:pt x="950" y="1308"/>
                  </a:lnTo>
                  <a:lnTo>
                    <a:pt x="1065" y="1245"/>
                  </a:lnTo>
                  <a:lnTo>
                    <a:pt x="1063" y="1246"/>
                  </a:lnTo>
                  <a:lnTo>
                    <a:pt x="1164" y="1163"/>
                  </a:lnTo>
                  <a:lnTo>
                    <a:pt x="1163" y="1164"/>
                  </a:lnTo>
                  <a:lnTo>
                    <a:pt x="1246" y="1063"/>
                  </a:lnTo>
                  <a:lnTo>
                    <a:pt x="1245" y="1065"/>
                  </a:lnTo>
                  <a:lnTo>
                    <a:pt x="1308" y="950"/>
                  </a:lnTo>
                  <a:lnTo>
                    <a:pt x="1308" y="951"/>
                  </a:lnTo>
                  <a:lnTo>
                    <a:pt x="1330" y="888"/>
                  </a:lnTo>
                  <a:lnTo>
                    <a:pt x="1347" y="824"/>
                  </a:lnTo>
                  <a:lnTo>
                    <a:pt x="1356" y="758"/>
                  </a:lnTo>
                  <a:lnTo>
                    <a:pt x="1360" y="689"/>
                  </a:lnTo>
                  <a:lnTo>
                    <a:pt x="1357" y="621"/>
                  </a:lnTo>
                  <a:lnTo>
                    <a:pt x="1347" y="553"/>
                  </a:lnTo>
                  <a:lnTo>
                    <a:pt x="1330" y="489"/>
                  </a:lnTo>
                  <a:lnTo>
                    <a:pt x="1308" y="427"/>
                  </a:lnTo>
                  <a:lnTo>
                    <a:pt x="1308" y="428"/>
                  </a:lnTo>
                  <a:lnTo>
                    <a:pt x="1245" y="312"/>
                  </a:lnTo>
                  <a:lnTo>
                    <a:pt x="1246" y="314"/>
                  </a:lnTo>
                  <a:lnTo>
                    <a:pt x="1163" y="213"/>
                  </a:lnTo>
                  <a:lnTo>
                    <a:pt x="1164" y="214"/>
                  </a:lnTo>
                  <a:lnTo>
                    <a:pt x="1063" y="131"/>
                  </a:lnTo>
                  <a:lnTo>
                    <a:pt x="1065" y="132"/>
                  </a:lnTo>
                  <a:lnTo>
                    <a:pt x="950" y="70"/>
                  </a:lnTo>
                  <a:lnTo>
                    <a:pt x="951" y="70"/>
                  </a:lnTo>
                  <a:lnTo>
                    <a:pt x="888" y="47"/>
                  </a:lnTo>
                  <a:lnTo>
                    <a:pt x="824" y="30"/>
                  </a:lnTo>
                  <a:lnTo>
                    <a:pt x="758" y="20"/>
                  </a:lnTo>
                  <a:lnTo>
                    <a:pt x="689" y="16"/>
                  </a:lnTo>
                  <a:lnTo>
                    <a:pt x="621" y="20"/>
                  </a:lnTo>
                  <a:lnTo>
                    <a:pt x="553" y="30"/>
                  </a:lnTo>
                  <a:lnTo>
                    <a:pt x="489" y="47"/>
                  </a:lnTo>
                  <a:lnTo>
                    <a:pt x="428" y="70"/>
                  </a:lnTo>
                  <a:lnTo>
                    <a:pt x="312" y="132"/>
                  </a:lnTo>
                  <a:lnTo>
                    <a:pt x="314" y="131"/>
                  </a:lnTo>
                  <a:lnTo>
                    <a:pt x="213" y="214"/>
                  </a:lnTo>
                  <a:lnTo>
                    <a:pt x="214" y="213"/>
                  </a:lnTo>
                  <a:lnTo>
                    <a:pt x="131" y="314"/>
                  </a:lnTo>
                  <a:lnTo>
                    <a:pt x="132" y="312"/>
                  </a:lnTo>
                  <a:lnTo>
                    <a:pt x="70" y="427"/>
                  </a:lnTo>
                  <a:lnTo>
                    <a:pt x="47" y="488"/>
                  </a:lnTo>
                  <a:lnTo>
                    <a:pt x="30" y="553"/>
                  </a:lnTo>
                  <a:lnTo>
                    <a:pt x="20" y="620"/>
                  </a:lnTo>
                  <a:lnTo>
                    <a:pt x="16" y="688"/>
                  </a:lnTo>
                  <a:lnTo>
                    <a:pt x="20" y="757"/>
                  </a:lnTo>
                  <a:close/>
                </a:path>
              </a:pathLst>
            </a:custGeom>
            <a:solidFill>
              <a:srgbClr val="000000"/>
            </a:solidFill>
            <a:ln w="0">
              <a:solidFill>
                <a:srgbClr val="000000"/>
              </a:solidFill>
              <a:round/>
              <a:headEnd/>
              <a:tailEnd/>
            </a:ln>
          </p:spPr>
          <p:txBody>
            <a:bodyPr/>
            <a:lstStyle/>
            <a:p>
              <a:endParaRPr lang="en-US"/>
            </a:p>
          </p:txBody>
        </p:sp>
        <p:sp>
          <p:nvSpPr>
            <p:cNvPr id="42114" name="Freeform 126"/>
            <p:cNvSpPr>
              <a:spLocks/>
            </p:cNvSpPr>
            <p:nvPr/>
          </p:nvSpPr>
          <p:spPr bwMode="auto">
            <a:xfrm>
              <a:off x="1697" y="1269"/>
              <a:ext cx="383" cy="383"/>
            </a:xfrm>
            <a:custGeom>
              <a:avLst/>
              <a:gdLst>
                <a:gd name="T0" fmla="*/ 0 w 1360"/>
                <a:gd name="T1" fmla="*/ 15 h 1360"/>
                <a:gd name="T2" fmla="*/ 15 w 1360"/>
                <a:gd name="T3" fmla="*/ 0 h 1360"/>
                <a:gd name="T4" fmla="*/ 15 w 1360"/>
                <a:gd name="T5" fmla="*/ 0 h 1360"/>
                <a:gd name="T6" fmla="*/ 15 w 1360"/>
                <a:gd name="T7" fmla="*/ 0 h 1360"/>
                <a:gd name="T8" fmla="*/ 30 w 1360"/>
                <a:gd name="T9" fmla="*/ 15 h 1360"/>
                <a:gd name="T10" fmla="*/ 30 w 1360"/>
                <a:gd name="T11" fmla="*/ 15 h 1360"/>
                <a:gd name="T12" fmla="*/ 30 w 1360"/>
                <a:gd name="T13" fmla="*/ 15 h 1360"/>
                <a:gd name="T14" fmla="*/ 15 w 1360"/>
                <a:gd name="T15" fmla="*/ 30 h 1360"/>
                <a:gd name="T16" fmla="*/ 15 w 1360"/>
                <a:gd name="T17" fmla="*/ 30 h 1360"/>
                <a:gd name="T18" fmla="*/ 15 w 1360"/>
                <a:gd name="T19" fmla="*/ 30 h 1360"/>
                <a:gd name="T20" fmla="*/ 0 w 1360"/>
                <a:gd name="T21" fmla="*/ 15 h 1360"/>
                <a:gd name="T22" fmla="*/ 0 w 1360"/>
                <a:gd name="T23" fmla="*/ 15 h 13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60"/>
                <a:gd name="T37" fmla="*/ 0 h 1360"/>
                <a:gd name="T38" fmla="*/ 1360 w 1360"/>
                <a:gd name="T39" fmla="*/ 1360 h 13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60" h="1360">
                  <a:moveTo>
                    <a:pt x="0" y="680"/>
                  </a:moveTo>
                  <a:cubicBezTo>
                    <a:pt x="0" y="305"/>
                    <a:pt x="305" y="0"/>
                    <a:pt x="680" y="0"/>
                  </a:cubicBezTo>
                  <a:cubicBezTo>
                    <a:pt x="680" y="0"/>
                    <a:pt x="680" y="0"/>
                    <a:pt x="680" y="0"/>
                  </a:cubicBezTo>
                  <a:cubicBezTo>
                    <a:pt x="1056" y="0"/>
                    <a:pt x="1360" y="305"/>
                    <a:pt x="1360" y="680"/>
                  </a:cubicBezTo>
                  <a:cubicBezTo>
                    <a:pt x="1360" y="680"/>
                    <a:pt x="1360" y="680"/>
                    <a:pt x="1360" y="680"/>
                  </a:cubicBezTo>
                  <a:cubicBezTo>
                    <a:pt x="1360" y="1056"/>
                    <a:pt x="1056" y="1360"/>
                    <a:pt x="680" y="1360"/>
                  </a:cubicBezTo>
                  <a:cubicBezTo>
                    <a:pt x="680" y="1360"/>
                    <a:pt x="680" y="1360"/>
                    <a:pt x="680" y="1360"/>
                  </a:cubicBezTo>
                  <a:cubicBezTo>
                    <a:pt x="305" y="1360"/>
                    <a:pt x="0" y="1056"/>
                    <a:pt x="0" y="680"/>
                  </a:cubicBezTo>
                  <a:cubicBezTo>
                    <a:pt x="0" y="680"/>
                    <a:pt x="0" y="680"/>
                    <a:pt x="0" y="680"/>
                  </a:cubicBezTo>
                  <a:close/>
                </a:path>
              </a:pathLst>
            </a:custGeom>
            <a:solidFill>
              <a:srgbClr val="FF8000"/>
            </a:solidFill>
            <a:ln w="0">
              <a:solidFill>
                <a:srgbClr val="000000"/>
              </a:solidFill>
              <a:round/>
              <a:headEnd/>
              <a:tailEnd/>
            </a:ln>
          </p:spPr>
          <p:txBody>
            <a:bodyPr/>
            <a:lstStyle/>
            <a:p>
              <a:endParaRPr lang="en-US"/>
            </a:p>
          </p:txBody>
        </p:sp>
        <p:sp>
          <p:nvSpPr>
            <p:cNvPr id="42115" name="Rectangle 129"/>
            <p:cNvSpPr>
              <a:spLocks noChangeArrowheads="1"/>
            </p:cNvSpPr>
            <p:nvPr/>
          </p:nvSpPr>
          <p:spPr bwMode="auto">
            <a:xfrm>
              <a:off x="1841" y="1417"/>
              <a:ext cx="148" cy="108"/>
            </a:xfrm>
            <a:prstGeom prst="rect">
              <a:avLst/>
            </a:prstGeom>
            <a:solidFill>
              <a:srgbClr val="FF8000"/>
            </a:solidFill>
            <a:ln w="9525">
              <a:noFill/>
              <a:miter lim="800000"/>
              <a:headEnd/>
              <a:tailEnd/>
            </a:ln>
          </p:spPr>
          <p:txBody>
            <a:bodyPr wrap="none" lIns="0" tIns="0" rIns="0" bIns="0">
              <a:spAutoFit/>
            </a:bodyPr>
            <a:lstStyle/>
            <a:p>
              <a:r>
                <a:rPr lang="en-US" sz="1000">
                  <a:solidFill>
                    <a:srgbClr val="000000"/>
                  </a:solidFill>
                </a:rPr>
                <a:t>UK</a:t>
              </a:r>
              <a:endParaRPr lang="en-US"/>
            </a:p>
          </p:txBody>
        </p:sp>
        <p:sp>
          <p:nvSpPr>
            <p:cNvPr id="42116" name="Freeform 134"/>
            <p:cNvSpPr>
              <a:spLocks/>
            </p:cNvSpPr>
            <p:nvPr/>
          </p:nvSpPr>
          <p:spPr bwMode="auto">
            <a:xfrm>
              <a:off x="1247" y="2350"/>
              <a:ext cx="279" cy="301"/>
            </a:xfrm>
            <a:custGeom>
              <a:avLst/>
              <a:gdLst>
                <a:gd name="T0" fmla="*/ 0 w 992"/>
                <a:gd name="T1" fmla="*/ 12 h 1072"/>
                <a:gd name="T2" fmla="*/ 11 w 992"/>
                <a:gd name="T3" fmla="*/ 0 h 1072"/>
                <a:gd name="T4" fmla="*/ 11 w 992"/>
                <a:gd name="T5" fmla="*/ 0 h 1072"/>
                <a:gd name="T6" fmla="*/ 11 w 992"/>
                <a:gd name="T7" fmla="*/ 0 h 1072"/>
                <a:gd name="T8" fmla="*/ 22 w 992"/>
                <a:gd name="T9" fmla="*/ 12 h 1072"/>
                <a:gd name="T10" fmla="*/ 22 w 992"/>
                <a:gd name="T11" fmla="*/ 12 h 1072"/>
                <a:gd name="T12" fmla="*/ 22 w 992"/>
                <a:gd name="T13" fmla="*/ 12 h 1072"/>
                <a:gd name="T14" fmla="*/ 11 w 992"/>
                <a:gd name="T15" fmla="*/ 24 h 1072"/>
                <a:gd name="T16" fmla="*/ 11 w 992"/>
                <a:gd name="T17" fmla="*/ 24 h 1072"/>
                <a:gd name="T18" fmla="*/ 11 w 992"/>
                <a:gd name="T19" fmla="*/ 24 h 1072"/>
                <a:gd name="T20" fmla="*/ 0 w 992"/>
                <a:gd name="T21" fmla="*/ 12 h 1072"/>
                <a:gd name="T22" fmla="*/ 0 w 992"/>
                <a:gd name="T23" fmla="*/ 12 h 10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92"/>
                <a:gd name="T37" fmla="*/ 0 h 1072"/>
                <a:gd name="T38" fmla="*/ 992 w 992"/>
                <a:gd name="T39" fmla="*/ 1072 h 107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92" h="1072">
                  <a:moveTo>
                    <a:pt x="0" y="536"/>
                  </a:moveTo>
                  <a:cubicBezTo>
                    <a:pt x="0" y="240"/>
                    <a:pt x="223" y="0"/>
                    <a:pt x="496" y="0"/>
                  </a:cubicBezTo>
                  <a:cubicBezTo>
                    <a:pt x="496" y="0"/>
                    <a:pt x="496" y="0"/>
                    <a:pt x="496" y="0"/>
                  </a:cubicBezTo>
                  <a:cubicBezTo>
                    <a:pt x="770" y="0"/>
                    <a:pt x="992" y="240"/>
                    <a:pt x="992" y="536"/>
                  </a:cubicBezTo>
                  <a:cubicBezTo>
                    <a:pt x="992" y="536"/>
                    <a:pt x="992" y="536"/>
                    <a:pt x="992" y="536"/>
                  </a:cubicBezTo>
                  <a:cubicBezTo>
                    <a:pt x="992" y="832"/>
                    <a:pt x="770" y="1072"/>
                    <a:pt x="496" y="1072"/>
                  </a:cubicBezTo>
                  <a:cubicBezTo>
                    <a:pt x="496" y="1072"/>
                    <a:pt x="496" y="1072"/>
                    <a:pt x="496" y="1072"/>
                  </a:cubicBezTo>
                  <a:cubicBezTo>
                    <a:pt x="223" y="1072"/>
                    <a:pt x="0" y="832"/>
                    <a:pt x="0" y="536"/>
                  </a:cubicBezTo>
                  <a:cubicBezTo>
                    <a:pt x="0" y="536"/>
                    <a:pt x="0" y="536"/>
                    <a:pt x="0" y="536"/>
                  </a:cubicBezTo>
                  <a:close/>
                </a:path>
              </a:pathLst>
            </a:custGeom>
            <a:solidFill>
              <a:srgbClr val="D1D1F0"/>
            </a:solidFill>
            <a:ln w="0">
              <a:solidFill>
                <a:srgbClr val="000000"/>
              </a:solidFill>
              <a:round/>
              <a:headEnd/>
              <a:tailEnd/>
            </a:ln>
          </p:spPr>
          <p:txBody>
            <a:bodyPr/>
            <a:lstStyle/>
            <a:p>
              <a:endParaRPr lang="en-US"/>
            </a:p>
          </p:txBody>
        </p:sp>
        <p:sp>
          <p:nvSpPr>
            <p:cNvPr id="42117" name="Freeform 135"/>
            <p:cNvSpPr>
              <a:spLocks noEditPoints="1"/>
            </p:cNvSpPr>
            <p:nvPr/>
          </p:nvSpPr>
          <p:spPr bwMode="auto">
            <a:xfrm>
              <a:off x="1244" y="2347"/>
              <a:ext cx="284" cy="306"/>
            </a:xfrm>
            <a:custGeom>
              <a:avLst/>
              <a:gdLst>
                <a:gd name="T0" fmla="*/ 0 w 1008"/>
                <a:gd name="T1" fmla="*/ 10 h 1088"/>
                <a:gd name="T2" fmla="*/ 1 w 1008"/>
                <a:gd name="T3" fmla="*/ 7 h 1088"/>
                <a:gd name="T4" fmla="*/ 3 w 1008"/>
                <a:gd name="T5" fmla="*/ 4 h 1088"/>
                <a:gd name="T6" fmla="*/ 5 w 1008"/>
                <a:gd name="T7" fmla="*/ 2 h 1088"/>
                <a:gd name="T8" fmla="*/ 9 w 1008"/>
                <a:gd name="T9" fmla="*/ 0 h 1088"/>
                <a:gd name="T10" fmla="*/ 11 w 1008"/>
                <a:gd name="T11" fmla="*/ 0 h 1088"/>
                <a:gd name="T12" fmla="*/ 16 w 1008"/>
                <a:gd name="T13" fmla="*/ 1 h 1088"/>
                <a:gd name="T14" fmla="*/ 18 w 1008"/>
                <a:gd name="T15" fmla="*/ 2 h 1088"/>
                <a:gd name="T16" fmla="*/ 21 w 1008"/>
                <a:gd name="T17" fmla="*/ 5 h 1088"/>
                <a:gd name="T18" fmla="*/ 22 w 1008"/>
                <a:gd name="T19" fmla="*/ 7 h 1088"/>
                <a:gd name="T20" fmla="*/ 23 w 1008"/>
                <a:gd name="T21" fmla="*/ 12 h 1088"/>
                <a:gd name="T22" fmla="*/ 22 w 1008"/>
                <a:gd name="T23" fmla="*/ 15 h 1088"/>
                <a:gd name="T24" fmla="*/ 21 w 1008"/>
                <a:gd name="T25" fmla="*/ 19 h 1088"/>
                <a:gd name="T26" fmla="*/ 19 w 1008"/>
                <a:gd name="T27" fmla="*/ 21 h 1088"/>
                <a:gd name="T28" fmla="*/ 16 w 1008"/>
                <a:gd name="T29" fmla="*/ 23 h 1088"/>
                <a:gd name="T30" fmla="*/ 14 w 1008"/>
                <a:gd name="T31" fmla="*/ 24 h 1088"/>
                <a:gd name="T32" fmla="*/ 9 w 1008"/>
                <a:gd name="T33" fmla="*/ 24 h 1088"/>
                <a:gd name="T34" fmla="*/ 7 w 1008"/>
                <a:gd name="T35" fmla="*/ 23 h 1088"/>
                <a:gd name="T36" fmla="*/ 3 w 1008"/>
                <a:gd name="T37" fmla="*/ 21 h 1088"/>
                <a:gd name="T38" fmla="*/ 2 w 1008"/>
                <a:gd name="T39" fmla="*/ 19 h 1088"/>
                <a:gd name="T40" fmla="*/ 0 w 1008"/>
                <a:gd name="T41" fmla="*/ 15 h 1088"/>
                <a:gd name="T42" fmla="*/ 1 w 1008"/>
                <a:gd name="T43" fmla="*/ 14 h 1088"/>
                <a:gd name="T44" fmla="*/ 1 w 1008"/>
                <a:gd name="T45" fmla="*/ 17 h 1088"/>
                <a:gd name="T46" fmla="*/ 4 w 1008"/>
                <a:gd name="T47" fmla="*/ 21 h 1088"/>
                <a:gd name="T48" fmla="*/ 5 w 1008"/>
                <a:gd name="T49" fmla="*/ 22 h 1088"/>
                <a:gd name="T50" fmla="*/ 9 w 1008"/>
                <a:gd name="T51" fmla="*/ 24 h 1088"/>
                <a:gd name="T52" fmla="*/ 11 w 1008"/>
                <a:gd name="T53" fmla="*/ 24 h 1088"/>
                <a:gd name="T54" fmla="*/ 15 w 1008"/>
                <a:gd name="T55" fmla="*/ 23 h 1088"/>
                <a:gd name="T56" fmla="*/ 17 w 1008"/>
                <a:gd name="T57" fmla="*/ 22 h 1088"/>
                <a:gd name="T58" fmla="*/ 20 w 1008"/>
                <a:gd name="T59" fmla="*/ 19 h 1088"/>
                <a:gd name="T60" fmla="*/ 21 w 1008"/>
                <a:gd name="T61" fmla="*/ 17 h 1088"/>
                <a:gd name="T62" fmla="*/ 22 w 1008"/>
                <a:gd name="T63" fmla="*/ 12 h 1088"/>
                <a:gd name="T64" fmla="*/ 22 w 1008"/>
                <a:gd name="T65" fmla="*/ 10 h 1088"/>
                <a:gd name="T66" fmla="*/ 20 w 1008"/>
                <a:gd name="T67" fmla="*/ 6 h 1088"/>
                <a:gd name="T68" fmla="*/ 19 w 1008"/>
                <a:gd name="T69" fmla="*/ 4 h 1088"/>
                <a:gd name="T70" fmla="*/ 15 w 1008"/>
                <a:gd name="T71" fmla="*/ 1 h 1088"/>
                <a:gd name="T72" fmla="*/ 14 w 1008"/>
                <a:gd name="T73" fmla="*/ 1 h 1088"/>
                <a:gd name="T74" fmla="*/ 9 w 1008"/>
                <a:gd name="T75" fmla="*/ 1 h 1088"/>
                <a:gd name="T76" fmla="*/ 7 w 1008"/>
                <a:gd name="T77" fmla="*/ 1 h 1088"/>
                <a:gd name="T78" fmla="*/ 4 w 1008"/>
                <a:gd name="T79" fmla="*/ 4 h 1088"/>
                <a:gd name="T80" fmla="*/ 2 w 1008"/>
                <a:gd name="T81" fmla="*/ 6 h 1088"/>
                <a:gd name="T82" fmla="*/ 1 w 1008"/>
                <a:gd name="T83" fmla="*/ 10 h 1088"/>
                <a:gd name="T84" fmla="*/ 0 w 1008"/>
                <a:gd name="T85" fmla="*/ 12 h 108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8"/>
                <a:gd name="T130" fmla="*/ 0 h 1088"/>
                <a:gd name="T131" fmla="*/ 1008 w 1008"/>
                <a:gd name="T132" fmla="*/ 1088 h 108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8" h="1088">
                  <a:moveTo>
                    <a:pt x="0" y="545"/>
                  </a:moveTo>
                  <a:cubicBezTo>
                    <a:pt x="0" y="545"/>
                    <a:pt x="0" y="544"/>
                    <a:pt x="0" y="544"/>
                  </a:cubicBezTo>
                  <a:lnTo>
                    <a:pt x="10" y="436"/>
                  </a:lnTo>
                  <a:cubicBezTo>
                    <a:pt x="11" y="435"/>
                    <a:pt x="11" y="435"/>
                    <a:pt x="11" y="434"/>
                  </a:cubicBezTo>
                  <a:lnTo>
                    <a:pt x="40" y="333"/>
                  </a:lnTo>
                  <a:cubicBezTo>
                    <a:pt x="40" y="333"/>
                    <a:pt x="40" y="332"/>
                    <a:pt x="40" y="332"/>
                  </a:cubicBezTo>
                  <a:lnTo>
                    <a:pt x="86" y="241"/>
                  </a:lnTo>
                  <a:cubicBezTo>
                    <a:pt x="87" y="240"/>
                    <a:pt x="87" y="240"/>
                    <a:pt x="87" y="240"/>
                  </a:cubicBezTo>
                  <a:lnTo>
                    <a:pt x="148" y="161"/>
                  </a:lnTo>
                  <a:cubicBezTo>
                    <a:pt x="148" y="160"/>
                    <a:pt x="149" y="160"/>
                    <a:pt x="149" y="159"/>
                  </a:cubicBezTo>
                  <a:lnTo>
                    <a:pt x="222" y="94"/>
                  </a:lnTo>
                  <a:cubicBezTo>
                    <a:pt x="223" y="94"/>
                    <a:pt x="223" y="94"/>
                    <a:pt x="223" y="94"/>
                  </a:cubicBezTo>
                  <a:lnTo>
                    <a:pt x="307" y="44"/>
                  </a:lnTo>
                  <a:cubicBezTo>
                    <a:pt x="308" y="43"/>
                    <a:pt x="308" y="43"/>
                    <a:pt x="309" y="43"/>
                  </a:cubicBezTo>
                  <a:lnTo>
                    <a:pt x="402" y="12"/>
                  </a:lnTo>
                  <a:cubicBezTo>
                    <a:pt x="402" y="12"/>
                    <a:pt x="403" y="12"/>
                    <a:pt x="404" y="12"/>
                  </a:cubicBezTo>
                  <a:lnTo>
                    <a:pt x="504" y="1"/>
                  </a:lnTo>
                  <a:cubicBezTo>
                    <a:pt x="504" y="0"/>
                    <a:pt x="505" y="0"/>
                    <a:pt x="505" y="1"/>
                  </a:cubicBezTo>
                  <a:lnTo>
                    <a:pt x="605" y="12"/>
                  </a:lnTo>
                  <a:cubicBezTo>
                    <a:pt x="606" y="12"/>
                    <a:pt x="606" y="12"/>
                    <a:pt x="607" y="12"/>
                  </a:cubicBezTo>
                  <a:lnTo>
                    <a:pt x="700" y="43"/>
                  </a:lnTo>
                  <a:cubicBezTo>
                    <a:pt x="701" y="43"/>
                    <a:pt x="701" y="43"/>
                    <a:pt x="702" y="44"/>
                  </a:cubicBezTo>
                  <a:lnTo>
                    <a:pt x="786" y="94"/>
                  </a:lnTo>
                  <a:cubicBezTo>
                    <a:pt x="786" y="94"/>
                    <a:pt x="786" y="94"/>
                    <a:pt x="787" y="94"/>
                  </a:cubicBezTo>
                  <a:lnTo>
                    <a:pt x="861" y="159"/>
                  </a:lnTo>
                  <a:cubicBezTo>
                    <a:pt x="861" y="160"/>
                    <a:pt x="862" y="160"/>
                    <a:pt x="862" y="161"/>
                  </a:cubicBezTo>
                  <a:lnTo>
                    <a:pt x="922" y="240"/>
                  </a:lnTo>
                  <a:cubicBezTo>
                    <a:pt x="922" y="240"/>
                    <a:pt x="922" y="240"/>
                    <a:pt x="923" y="241"/>
                  </a:cubicBezTo>
                  <a:lnTo>
                    <a:pt x="969" y="332"/>
                  </a:lnTo>
                  <a:cubicBezTo>
                    <a:pt x="969" y="332"/>
                    <a:pt x="969" y="333"/>
                    <a:pt x="969" y="333"/>
                  </a:cubicBezTo>
                  <a:lnTo>
                    <a:pt x="998" y="434"/>
                  </a:lnTo>
                  <a:cubicBezTo>
                    <a:pt x="998" y="435"/>
                    <a:pt x="998" y="435"/>
                    <a:pt x="998" y="436"/>
                  </a:cubicBezTo>
                  <a:lnTo>
                    <a:pt x="1008" y="544"/>
                  </a:lnTo>
                  <a:cubicBezTo>
                    <a:pt x="1008" y="544"/>
                    <a:pt x="1008" y="545"/>
                    <a:pt x="1008" y="545"/>
                  </a:cubicBezTo>
                  <a:lnTo>
                    <a:pt x="998" y="653"/>
                  </a:lnTo>
                  <a:cubicBezTo>
                    <a:pt x="998" y="654"/>
                    <a:pt x="998" y="654"/>
                    <a:pt x="998" y="655"/>
                  </a:cubicBezTo>
                  <a:lnTo>
                    <a:pt x="969" y="756"/>
                  </a:lnTo>
                  <a:cubicBezTo>
                    <a:pt x="969" y="756"/>
                    <a:pt x="969" y="757"/>
                    <a:pt x="969" y="757"/>
                  </a:cubicBezTo>
                  <a:lnTo>
                    <a:pt x="923" y="848"/>
                  </a:lnTo>
                  <a:cubicBezTo>
                    <a:pt x="922" y="849"/>
                    <a:pt x="922" y="849"/>
                    <a:pt x="922" y="849"/>
                  </a:cubicBezTo>
                  <a:lnTo>
                    <a:pt x="862" y="928"/>
                  </a:lnTo>
                  <a:cubicBezTo>
                    <a:pt x="862" y="929"/>
                    <a:pt x="861" y="929"/>
                    <a:pt x="861" y="929"/>
                  </a:cubicBezTo>
                  <a:lnTo>
                    <a:pt x="787" y="994"/>
                  </a:lnTo>
                  <a:cubicBezTo>
                    <a:pt x="786" y="995"/>
                    <a:pt x="786" y="995"/>
                    <a:pt x="786" y="995"/>
                  </a:cubicBezTo>
                  <a:lnTo>
                    <a:pt x="702" y="1045"/>
                  </a:lnTo>
                  <a:cubicBezTo>
                    <a:pt x="701" y="1046"/>
                    <a:pt x="701" y="1046"/>
                    <a:pt x="700" y="1046"/>
                  </a:cubicBezTo>
                  <a:lnTo>
                    <a:pt x="607" y="1077"/>
                  </a:lnTo>
                  <a:cubicBezTo>
                    <a:pt x="606" y="1077"/>
                    <a:pt x="606" y="1077"/>
                    <a:pt x="605" y="1077"/>
                  </a:cubicBezTo>
                  <a:lnTo>
                    <a:pt x="505" y="1088"/>
                  </a:lnTo>
                  <a:cubicBezTo>
                    <a:pt x="505" y="1088"/>
                    <a:pt x="504" y="1088"/>
                    <a:pt x="504" y="1088"/>
                  </a:cubicBezTo>
                  <a:lnTo>
                    <a:pt x="404" y="1077"/>
                  </a:lnTo>
                  <a:cubicBezTo>
                    <a:pt x="403" y="1077"/>
                    <a:pt x="402" y="1077"/>
                    <a:pt x="402" y="1077"/>
                  </a:cubicBezTo>
                  <a:lnTo>
                    <a:pt x="309" y="1046"/>
                  </a:lnTo>
                  <a:cubicBezTo>
                    <a:pt x="308" y="1046"/>
                    <a:pt x="308" y="1046"/>
                    <a:pt x="307" y="1045"/>
                  </a:cubicBezTo>
                  <a:lnTo>
                    <a:pt x="223" y="995"/>
                  </a:lnTo>
                  <a:cubicBezTo>
                    <a:pt x="223" y="995"/>
                    <a:pt x="223" y="995"/>
                    <a:pt x="222" y="994"/>
                  </a:cubicBezTo>
                  <a:lnTo>
                    <a:pt x="149" y="929"/>
                  </a:lnTo>
                  <a:cubicBezTo>
                    <a:pt x="149" y="929"/>
                    <a:pt x="148" y="929"/>
                    <a:pt x="148" y="928"/>
                  </a:cubicBezTo>
                  <a:lnTo>
                    <a:pt x="87" y="849"/>
                  </a:lnTo>
                  <a:cubicBezTo>
                    <a:pt x="87" y="849"/>
                    <a:pt x="87" y="849"/>
                    <a:pt x="86" y="848"/>
                  </a:cubicBezTo>
                  <a:lnTo>
                    <a:pt x="40" y="757"/>
                  </a:lnTo>
                  <a:cubicBezTo>
                    <a:pt x="40" y="757"/>
                    <a:pt x="40" y="756"/>
                    <a:pt x="40" y="756"/>
                  </a:cubicBezTo>
                  <a:lnTo>
                    <a:pt x="11" y="655"/>
                  </a:lnTo>
                  <a:cubicBezTo>
                    <a:pt x="11" y="654"/>
                    <a:pt x="11" y="654"/>
                    <a:pt x="10" y="653"/>
                  </a:cubicBezTo>
                  <a:lnTo>
                    <a:pt x="0" y="545"/>
                  </a:lnTo>
                  <a:close/>
                  <a:moveTo>
                    <a:pt x="26" y="652"/>
                  </a:moveTo>
                  <a:lnTo>
                    <a:pt x="26" y="650"/>
                  </a:lnTo>
                  <a:lnTo>
                    <a:pt x="55" y="751"/>
                  </a:lnTo>
                  <a:lnTo>
                    <a:pt x="55" y="750"/>
                  </a:lnTo>
                  <a:lnTo>
                    <a:pt x="101" y="841"/>
                  </a:lnTo>
                  <a:lnTo>
                    <a:pt x="100" y="840"/>
                  </a:lnTo>
                  <a:lnTo>
                    <a:pt x="161" y="919"/>
                  </a:lnTo>
                  <a:lnTo>
                    <a:pt x="160" y="917"/>
                  </a:lnTo>
                  <a:lnTo>
                    <a:pt x="233" y="982"/>
                  </a:lnTo>
                  <a:lnTo>
                    <a:pt x="232" y="982"/>
                  </a:lnTo>
                  <a:lnTo>
                    <a:pt x="316" y="1032"/>
                  </a:lnTo>
                  <a:lnTo>
                    <a:pt x="314" y="1031"/>
                  </a:lnTo>
                  <a:lnTo>
                    <a:pt x="407" y="1062"/>
                  </a:lnTo>
                  <a:lnTo>
                    <a:pt x="405" y="1062"/>
                  </a:lnTo>
                  <a:lnTo>
                    <a:pt x="505" y="1073"/>
                  </a:lnTo>
                  <a:lnTo>
                    <a:pt x="504" y="1073"/>
                  </a:lnTo>
                  <a:lnTo>
                    <a:pt x="604" y="1062"/>
                  </a:lnTo>
                  <a:lnTo>
                    <a:pt x="602" y="1062"/>
                  </a:lnTo>
                  <a:lnTo>
                    <a:pt x="695" y="1031"/>
                  </a:lnTo>
                  <a:lnTo>
                    <a:pt x="693" y="1032"/>
                  </a:lnTo>
                  <a:lnTo>
                    <a:pt x="777" y="982"/>
                  </a:lnTo>
                  <a:lnTo>
                    <a:pt x="776" y="982"/>
                  </a:lnTo>
                  <a:lnTo>
                    <a:pt x="850" y="917"/>
                  </a:lnTo>
                  <a:lnTo>
                    <a:pt x="849" y="919"/>
                  </a:lnTo>
                  <a:lnTo>
                    <a:pt x="909" y="840"/>
                  </a:lnTo>
                  <a:lnTo>
                    <a:pt x="908" y="841"/>
                  </a:lnTo>
                  <a:lnTo>
                    <a:pt x="954" y="750"/>
                  </a:lnTo>
                  <a:lnTo>
                    <a:pt x="954" y="751"/>
                  </a:lnTo>
                  <a:lnTo>
                    <a:pt x="983" y="650"/>
                  </a:lnTo>
                  <a:lnTo>
                    <a:pt x="982" y="652"/>
                  </a:lnTo>
                  <a:lnTo>
                    <a:pt x="992" y="544"/>
                  </a:lnTo>
                  <a:lnTo>
                    <a:pt x="992" y="545"/>
                  </a:lnTo>
                  <a:lnTo>
                    <a:pt x="982" y="437"/>
                  </a:lnTo>
                  <a:lnTo>
                    <a:pt x="983" y="439"/>
                  </a:lnTo>
                  <a:lnTo>
                    <a:pt x="954" y="338"/>
                  </a:lnTo>
                  <a:lnTo>
                    <a:pt x="954" y="339"/>
                  </a:lnTo>
                  <a:lnTo>
                    <a:pt x="908" y="248"/>
                  </a:lnTo>
                  <a:lnTo>
                    <a:pt x="909" y="249"/>
                  </a:lnTo>
                  <a:lnTo>
                    <a:pt x="849" y="170"/>
                  </a:lnTo>
                  <a:lnTo>
                    <a:pt x="850" y="171"/>
                  </a:lnTo>
                  <a:lnTo>
                    <a:pt x="776" y="106"/>
                  </a:lnTo>
                  <a:lnTo>
                    <a:pt x="777" y="107"/>
                  </a:lnTo>
                  <a:lnTo>
                    <a:pt x="693" y="57"/>
                  </a:lnTo>
                  <a:lnTo>
                    <a:pt x="695" y="58"/>
                  </a:lnTo>
                  <a:lnTo>
                    <a:pt x="602" y="27"/>
                  </a:lnTo>
                  <a:lnTo>
                    <a:pt x="604" y="27"/>
                  </a:lnTo>
                  <a:lnTo>
                    <a:pt x="504" y="16"/>
                  </a:lnTo>
                  <a:lnTo>
                    <a:pt x="505" y="16"/>
                  </a:lnTo>
                  <a:lnTo>
                    <a:pt x="405" y="27"/>
                  </a:lnTo>
                  <a:lnTo>
                    <a:pt x="407" y="27"/>
                  </a:lnTo>
                  <a:lnTo>
                    <a:pt x="314" y="58"/>
                  </a:lnTo>
                  <a:lnTo>
                    <a:pt x="316" y="57"/>
                  </a:lnTo>
                  <a:lnTo>
                    <a:pt x="232" y="107"/>
                  </a:lnTo>
                  <a:lnTo>
                    <a:pt x="233" y="106"/>
                  </a:lnTo>
                  <a:lnTo>
                    <a:pt x="160" y="171"/>
                  </a:lnTo>
                  <a:lnTo>
                    <a:pt x="161" y="170"/>
                  </a:lnTo>
                  <a:lnTo>
                    <a:pt x="100" y="249"/>
                  </a:lnTo>
                  <a:lnTo>
                    <a:pt x="101" y="248"/>
                  </a:lnTo>
                  <a:lnTo>
                    <a:pt x="55" y="339"/>
                  </a:lnTo>
                  <a:lnTo>
                    <a:pt x="55" y="338"/>
                  </a:lnTo>
                  <a:lnTo>
                    <a:pt x="26" y="439"/>
                  </a:lnTo>
                  <a:lnTo>
                    <a:pt x="26" y="437"/>
                  </a:lnTo>
                  <a:lnTo>
                    <a:pt x="16" y="545"/>
                  </a:lnTo>
                  <a:lnTo>
                    <a:pt x="16" y="544"/>
                  </a:lnTo>
                  <a:lnTo>
                    <a:pt x="26" y="652"/>
                  </a:lnTo>
                  <a:close/>
                </a:path>
              </a:pathLst>
            </a:custGeom>
            <a:solidFill>
              <a:srgbClr val="000000"/>
            </a:solidFill>
            <a:ln w="0">
              <a:solidFill>
                <a:srgbClr val="000000"/>
              </a:solidFill>
              <a:round/>
              <a:headEnd/>
              <a:tailEnd/>
            </a:ln>
          </p:spPr>
          <p:txBody>
            <a:bodyPr/>
            <a:lstStyle/>
            <a:p>
              <a:endParaRPr lang="en-US"/>
            </a:p>
          </p:txBody>
        </p:sp>
        <p:sp>
          <p:nvSpPr>
            <p:cNvPr id="42118" name="Freeform 136"/>
            <p:cNvSpPr>
              <a:spLocks noEditPoints="1"/>
            </p:cNvSpPr>
            <p:nvPr/>
          </p:nvSpPr>
          <p:spPr bwMode="auto">
            <a:xfrm>
              <a:off x="1244" y="2347"/>
              <a:ext cx="284" cy="306"/>
            </a:xfrm>
            <a:custGeom>
              <a:avLst/>
              <a:gdLst>
                <a:gd name="T0" fmla="*/ 0 w 1008"/>
                <a:gd name="T1" fmla="*/ 10 h 1088"/>
                <a:gd name="T2" fmla="*/ 1 w 1008"/>
                <a:gd name="T3" fmla="*/ 7 h 1088"/>
                <a:gd name="T4" fmla="*/ 3 w 1008"/>
                <a:gd name="T5" fmla="*/ 4 h 1088"/>
                <a:gd name="T6" fmla="*/ 5 w 1008"/>
                <a:gd name="T7" fmla="*/ 2 h 1088"/>
                <a:gd name="T8" fmla="*/ 9 w 1008"/>
                <a:gd name="T9" fmla="*/ 0 h 1088"/>
                <a:gd name="T10" fmla="*/ 11 w 1008"/>
                <a:gd name="T11" fmla="*/ 0 h 1088"/>
                <a:gd name="T12" fmla="*/ 16 w 1008"/>
                <a:gd name="T13" fmla="*/ 1 h 1088"/>
                <a:gd name="T14" fmla="*/ 18 w 1008"/>
                <a:gd name="T15" fmla="*/ 2 h 1088"/>
                <a:gd name="T16" fmla="*/ 21 w 1008"/>
                <a:gd name="T17" fmla="*/ 5 h 1088"/>
                <a:gd name="T18" fmla="*/ 22 w 1008"/>
                <a:gd name="T19" fmla="*/ 7 h 1088"/>
                <a:gd name="T20" fmla="*/ 23 w 1008"/>
                <a:gd name="T21" fmla="*/ 12 h 1088"/>
                <a:gd name="T22" fmla="*/ 22 w 1008"/>
                <a:gd name="T23" fmla="*/ 15 h 1088"/>
                <a:gd name="T24" fmla="*/ 21 w 1008"/>
                <a:gd name="T25" fmla="*/ 19 h 1088"/>
                <a:gd name="T26" fmla="*/ 19 w 1008"/>
                <a:gd name="T27" fmla="*/ 21 h 1088"/>
                <a:gd name="T28" fmla="*/ 16 w 1008"/>
                <a:gd name="T29" fmla="*/ 23 h 1088"/>
                <a:gd name="T30" fmla="*/ 14 w 1008"/>
                <a:gd name="T31" fmla="*/ 24 h 1088"/>
                <a:gd name="T32" fmla="*/ 9 w 1008"/>
                <a:gd name="T33" fmla="*/ 24 h 1088"/>
                <a:gd name="T34" fmla="*/ 7 w 1008"/>
                <a:gd name="T35" fmla="*/ 23 h 1088"/>
                <a:gd name="T36" fmla="*/ 3 w 1008"/>
                <a:gd name="T37" fmla="*/ 21 h 1088"/>
                <a:gd name="T38" fmla="*/ 2 w 1008"/>
                <a:gd name="T39" fmla="*/ 19 h 1088"/>
                <a:gd name="T40" fmla="*/ 0 w 1008"/>
                <a:gd name="T41" fmla="*/ 15 h 1088"/>
                <a:gd name="T42" fmla="*/ 1 w 1008"/>
                <a:gd name="T43" fmla="*/ 14 h 1088"/>
                <a:gd name="T44" fmla="*/ 1 w 1008"/>
                <a:gd name="T45" fmla="*/ 17 h 1088"/>
                <a:gd name="T46" fmla="*/ 4 w 1008"/>
                <a:gd name="T47" fmla="*/ 21 h 1088"/>
                <a:gd name="T48" fmla="*/ 5 w 1008"/>
                <a:gd name="T49" fmla="*/ 22 h 1088"/>
                <a:gd name="T50" fmla="*/ 9 w 1008"/>
                <a:gd name="T51" fmla="*/ 24 h 1088"/>
                <a:gd name="T52" fmla="*/ 11 w 1008"/>
                <a:gd name="T53" fmla="*/ 24 h 1088"/>
                <a:gd name="T54" fmla="*/ 15 w 1008"/>
                <a:gd name="T55" fmla="*/ 23 h 1088"/>
                <a:gd name="T56" fmla="*/ 17 w 1008"/>
                <a:gd name="T57" fmla="*/ 22 h 1088"/>
                <a:gd name="T58" fmla="*/ 20 w 1008"/>
                <a:gd name="T59" fmla="*/ 19 h 1088"/>
                <a:gd name="T60" fmla="*/ 21 w 1008"/>
                <a:gd name="T61" fmla="*/ 17 h 1088"/>
                <a:gd name="T62" fmla="*/ 22 w 1008"/>
                <a:gd name="T63" fmla="*/ 12 h 1088"/>
                <a:gd name="T64" fmla="*/ 22 w 1008"/>
                <a:gd name="T65" fmla="*/ 10 h 1088"/>
                <a:gd name="T66" fmla="*/ 20 w 1008"/>
                <a:gd name="T67" fmla="*/ 6 h 1088"/>
                <a:gd name="T68" fmla="*/ 19 w 1008"/>
                <a:gd name="T69" fmla="*/ 4 h 1088"/>
                <a:gd name="T70" fmla="*/ 15 w 1008"/>
                <a:gd name="T71" fmla="*/ 1 h 1088"/>
                <a:gd name="T72" fmla="*/ 14 w 1008"/>
                <a:gd name="T73" fmla="*/ 1 h 1088"/>
                <a:gd name="T74" fmla="*/ 9 w 1008"/>
                <a:gd name="T75" fmla="*/ 1 h 1088"/>
                <a:gd name="T76" fmla="*/ 7 w 1008"/>
                <a:gd name="T77" fmla="*/ 1 h 1088"/>
                <a:gd name="T78" fmla="*/ 4 w 1008"/>
                <a:gd name="T79" fmla="*/ 4 h 1088"/>
                <a:gd name="T80" fmla="*/ 2 w 1008"/>
                <a:gd name="T81" fmla="*/ 6 h 1088"/>
                <a:gd name="T82" fmla="*/ 1 w 1008"/>
                <a:gd name="T83" fmla="*/ 10 h 1088"/>
                <a:gd name="T84" fmla="*/ 0 w 1008"/>
                <a:gd name="T85" fmla="*/ 12 h 108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8"/>
                <a:gd name="T130" fmla="*/ 0 h 1088"/>
                <a:gd name="T131" fmla="*/ 1008 w 1008"/>
                <a:gd name="T132" fmla="*/ 1088 h 108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8" h="1088">
                  <a:moveTo>
                    <a:pt x="0" y="545"/>
                  </a:moveTo>
                  <a:cubicBezTo>
                    <a:pt x="0" y="545"/>
                    <a:pt x="0" y="544"/>
                    <a:pt x="0" y="544"/>
                  </a:cubicBezTo>
                  <a:lnTo>
                    <a:pt x="10" y="436"/>
                  </a:lnTo>
                  <a:cubicBezTo>
                    <a:pt x="11" y="435"/>
                    <a:pt x="11" y="435"/>
                    <a:pt x="11" y="434"/>
                  </a:cubicBezTo>
                  <a:lnTo>
                    <a:pt x="40" y="333"/>
                  </a:lnTo>
                  <a:cubicBezTo>
                    <a:pt x="40" y="333"/>
                    <a:pt x="40" y="332"/>
                    <a:pt x="40" y="332"/>
                  </a:cubicBezTo>
                  <a:lnTo>
                    <a:pt x="86" y="241"/>
                  </a:lnTo>
                  <a:cubicBezTo>
                    <a:pt x="87" y="240"/>
                    <a:pt x="87" y="240"/>
                    <a:pt x="87" y="240"/>
                  </a:cubicBezTo>
                  <a:lnTo>
                    <a:pt x="148" y="161"/>
                  </a:lnTo>
                  <a:cubicBezTo>
                    <a:pt x="148" y="160"/>
                    <a:pt x="149" y="160"/>
                    <a:pt x="149" y="159"/>
                  </a:cubicBezTo>
                  <a:lnTo>
                    <a:pt x="222" y="94"/>
                  </a:lnTo>
                  <a:cubicBezTo>
                    <a:pt x="223" y="94"/>
                    <a:pt x="223" y="94"/>
                    <a:pt x="223" y="94"/>
                  </a:cubicBezTo>
                  <a:lnTo>
                    <a:pt x="307" y="44"/>
                  </a:lnTo>
                  <a:cubicBezTo>
                    <a:pt x="308" y="43"/>
                    <a:pt x="308" y="43"/>
                    <a:pt x="309" y="43"/>
                  </a:cubicBezTo>
                  <a:lnTo>
                    <a:pt x="402" y="12"/>
                  </a:lnTo>
                  <a:cubicBezTo>
                    <a:pt x="402" y="12"/>
                    <a:pt x="403" y="12"/>
                    <a:pt x="404" y="12"/>
                  </a:cubicBezTo>
                  <a:lnTo>
                    <a:pt x="504" y="1"/>
                  </a:lnTo>
                  <a:cubicBezTo>
                    <a:pt x="504" y="0"/>
                    <a:pt x="505" y="0"/>
                    <a:pt x="505" y="1"/>
                  </a:cubicBezTo>
                  <a:lnTo>
                    <a:pt x="605" y="12"/>
                  </a:lnTo>
                  <a:cubicBezTo>
                    <a:pt x="606" y="12"/>
                    <a:pt x="606" y="12"/>
                    <a:pt x="607" y="12"/>
                  </a:cubicBezTo>
                  <a:lnTo>
                    <a:pt x="700" y="43"/>
                  </a:lnTo>
                  <a:cubicBezTo>
                    <a:pt x="701" y="43"/>
                    <a:pt x="701" y="43"/>
                    <a:pt x="702" y="44"/>
                  </a:cubicBezTo>
                  <a:lnTo>
                    <a:pt x="786" y="94"/>
                  </a:lnTo>
                  <a:cubicBezTo>
                    <a:pt x="786" y="94"/>
                    <a:pt x="786" y="94"/>
                    <a:pt x="787" y="94"/>
                  </a:cubicBezTo>
                  <a:lnTo>
                    <a:pt x="861" y="159"/>
                  </a:lnTo>
                  <a:cubicBezTo>
                    <a:pt x="861" y="160"/>
                    <a:pt x="862" y="160"/>
                    <a:pt x="862" y="161"/>
                  </a:cubicBezTo>
                  <a:lnTo>
                    <a:pt x="922" y="240"/>
                  </a:lnTo>
                  <a:cubicBezTo>
                    <a:pt x="922" y="240"/>
                    <a:pt x="922" y="240"/>
                    <a:pt x="923" y="241"/>
                  </a:cubicBezTo>
                  <a:lnTo>
                    <a:pt x="969" y="332"/>
                  </a:lnTo>
                  <a:cubicBezTo>
                    <a:pt x="969" y="332"/>
                    <a:pt x="969" y="333"/>
                    <a:pt x="969" y="333"/>
                  </a:cubicBezTo>
                  <a:lnTo>
                    <a:pt x="998" y="434"/>
                  </a:lnTo>
                  <a:cubicBezTo>
                    <a:pt x="998" y="435"/>
                    <a:pt x="998" y="435"/>
                    <a:pt x="998" y="436"/>
                  </a:cubicBezTo>
                  <a:lnTo>
                    <a:pt x="1008" y="544"/>
                  </a:lnTo>
                  <a:cubicBezTo>
                    <a:pt x="1008" y="544"/>
                    <a:pt x="1008" y="545"/>
                    <a:pt x="1008" y="545"/>
                  </a:cubicBezTo>
                  <a:lnTo>
                    <a:pt x="998" y="653"/>
                  </a:lnTo>
                  <a:cubicBezTo>
                    <a:pt x="998" y="654"/>
                    <a:pt x="998" y="654"/>
                    <a:pt x="998" y="655"/>
                  </a:cubicBezTo>
                  <a:lnTo>
                    <a:pt x="969" y="756"/>
                  </a:lnTo>
                  <a:cubicBezTo>
                    <a:pt x="969" y="756"/>
                    <a:pt x="969" y="757"/>
                    <a:pt x="969" y="757"/>
                  </a:cubicBezTo>
                  <a:lnTo>
                    <a:pt x="923" y="848"/>
                  </a:lnTo>
                  <a:cubicBezTo>
                    <a:pt x="922" y="849"/>
                    <a:pt x="922" y="849"/>
                    <a:pt x="922" y="849"/>
                  </a:cubicBezTo>
                  <a:lnTo>
                    <a:pt x="862" y="928"/>
                  </a:lnTo>
                  <a:cubicBezTo>
                    <a:pt x="862" y="929"/>
                    <a:pt x="861" y="929"/>
                    <a:pt x="861" y="929"/>
                  </a:cubicBezTo>
                  <a:lnTo>
                    <a:pt x="787" y="994"/>
                  </a:lnTo>
                  <a:cubicBezTo>
                    <a:pt x="786" y="995"/>
                    <a:pt x="786" y="995"/>
                    <a:pt x="786" y="995"/>
                  </a:cubicBezTo>
                  <a:lnTo>
                    <a:pt x="702" y="1045"/>
                  </a:lnTo>
                  <a:cubicBezTo>
                    <a:pt x="701" y="1046"/>
                    <a:pt x="701" y="1046"/>
                    <a:pt x="700" y="1046"/>
                  </a:cubicBezTo>
                  <a:lnTo>
                    <a:pt x="607" y="1077"/>
                  </a:lnTo>
                  <a:cubicBezTo>
                    <a:pt x="606" y="1077"/>
                    <a:pt x="606" y="1077"/>
                    <a:pt x="605" y="1077"/>
                  </a:cubicBezTo>
                  <a:lnTo>
                    <a:pt x="505" y="1088"/>
                  </a:lnTo>
                  <a:cubicBezTo>
                    <a:pt x="505" y="1088"/>
                    <a:pt x="504" y="1088"/>
                    <a:pt x="504" y="1088"/>
                  </a:cubicBezTo>
                  <a:lnTo>
                    <a:pt x="404" y="1077"/>
                  </a:lnTo>
                  <a:cubicBezTo>
                    <a:pt x="403" y="1077"/>
                    <a:pt x="402" y="1077"/>
                    <a:pt x="402" y="1077"/>
                  </a:cubicBezTo>
                  <a:lnTo>
                    <a:pt x="309" y="1046"/>
                  </a:lnTo>
                  <a:cubicBezTo>
                    <a:pt x="308" y="1046"/>
                    <a:pt x="308" y="1046"/>
                    <a:pt x="307" y="1045"/>
                  </a:cubicBezTo>
                  <a:lnTo>
                    <a:pt x="223" y="995"/>
                  </a:lnTo>
                  <a:cubicBezTo>
                    <a:pt x="223" y="995"/>
                    <a:pt x="223" y="995"/>
                    <a:pt x="222" y="994"/>
                  </a:cubicBezTo>
                  <a:lnTo>
                    <a:pt x="149" y="929"/>
                  </a:lnTo>
                  <a:cubicBezTo>
                    <a:pt x="149" y="929"/>
                    <a:pt x="148" y="929"/>
                    <a:pt x="148" y="928"/>
                  </a:cubicBezTo>
                  <a:lnTo>
                    <a:pt x="87" y="849"/>
                  </a:lnTo>
                  <a:cubicBezTo>
                    <a:pt x="87" y="849"/>
                    <a:pt x="87" y="849"/>
                    <a:pt x="86" y="848"/>
                  </a:cubicBezTo>
                  <a:lnTo>
                    <a:pt x="40" y="757"/>
                  </a:lnTo>
                  <a:cubicBezTo>
                    <a:pt x="40" y="757"/>
                    <a:pt x="40" y="756"/>
                    <a:pt x="40" y="756"/>
                  </a:cubicBezTo>
                  <a:lnTo>
                    <a:pt x="11" y="655"/>
                  </a:lnTo>
                  <a:cubicBezTo>
                    <a:pt x="11" y="654"/>
                    <a:pt x="11" y="654"/>
                    <a:pt x="10" y="653"/>
                  </a:cubicBezTo>
                  <a:lnTo>
                    <a:pt x="0" y="545"/>
                  </a:lnTo>
                  <a:close/>
                  <a:moveTo>
                    <a:pt x="26" y="652"/>
                  </a:moveTo>
                  <a:lnTo>
                    <a:pt x="26" y="650"/>
                  </a:lnTo>
                  <a:lnTo>
                    <a:pt x="55" y="751"/>
                  </a:lnTo>
                  <a:lnTo>
                    <a:pt x="55" y="750"/>
                  </a:lnTo>
                  <a:lnTo>
                    <a:pt x="101" y="841"/>
                  </a:lnTo>
                  <a:lnTo>
                    <a:pt x="100" y="840"/>
                  </a:lnTo>
                  <a:lnTo>
                    <a:pt x="161" y="919"/>
                  </a:lnTo>
                  <a:lnTo>
                    <a:pt x="160" y="917"/>
                  </a:lnTo>
                  <a:lnTo>
                    <a:pt x="233" y="982"/>
                  </a:lnTo>
                  <a:lnTo>
                    <a:pt x="232" y="982"/>
                  </a:lnTo>
                  <a:lnTo>
                    <a:pt x="316" y="1032"/>
                  </a:lnTo>
                  <a:lnTo>
                    <a:pt x="314" y="1031"/>
                  </a:lnTo>
                  <a:lnTo>
                    <a:pt x="407" y="1062"/>
                  </a:lnTo>
                  <a:lnTo>
                    <a:pt x="405" y="1062"/>
                  </a:lnTo>
                  <a:lnTo>
                    <a:pt x="505" y="1073"/>
                  </a:lnTo>
                  <a:lnTo>
                    <a:pt x="504" y="1073"/>
                  </a:lnTo>
                  <a:lnTo>
                    <a:pt x="604" y="1062"/>
                  </a:lnTo>
                  <a:lnTo>
                    <a:pt x="602" y="1062"/>
                  </a:lnTo>
                  <a:lnTo>
                    <a:pt x="695" y="1031"/>
                  </a:lnTo>
                  <a:lnTo>
                    <a:pt x="693" y="1032"/>
                  </a:lnTo>
                  <a:lnTo>
                    <a:pt x="777" y="982"/>
                  </a:lnTo>
                  <a:lnTo>
                    <a:pt x="776" y="982"/>
                  </a:lnTo>
                  <a:lnTo>
                    <a:pt x="850" y="917"/>
                  </a:lnTo>
                  <a:lnTo>
                    <a:pt x="849" y="919"/>
                  </a:lnTo>
                  <a:lnTo>
                    <a:pt x="909" y="840"/>
                  </a:lnTo>
                  <a:lnTo>
                    <a:pt x="908" y="841"/>
                  </a:lnTo>
                  <a:lnTo>
                    <a:pt x="954" y="750"/>
                  </a:lnTo>
                  <a:lnTo>
                    <a:pt x="954" y="751"/>
                  </a:lnTo>
                  <a:lnTo>
                    <a:pt x="983" y="650"/>
                  </a:lnTo>
                  <a:lnTo>
                    <a:pt x="982" y="652"/>
                  </a:lnTo>
                  <a:lnTo>
                    <a:pt x="992" y="544"/>
                  </a:lnTo>
                  <a:lnTo>
                    <a:pt x="992" y="545"/>
                  </a:lnTo>
                  <a:lnTo>
                    <a:pt x="982" y="437"/>
                  </a:lnTo>
                  <a:lnTo>
                    <a:pt x="983" y="439"/>
                  </a:lnTo>
                  <a:lnTo>
                    <a:pt x="954" y="338"/>
                  </a:lnTo>
                  <a:lnTo>
                    <a:pt x="954" y="339"/>
                  </a:lnTo>
                  <a:lnTo>
                    <a:pt x="908" y="248"/>
                  </a:lnTo>
                  <a:lnTo>
                    <a:pt x="909" y="249"/>
                  </a:lnTo>
                  <a:lnTo>
                    <a:pt x="849" y="170"/>
                  </a:lnTo>
                  <a:lnTo>
                    <a:pt x="850" y="171"/>
                  </a:lnTo>
                  <a:lnTo>
                    <a:pt x="776" y="106"/>
                  </a:lnTo>
                  <a:lnTo>
                    <a:pt x="777" y="107"/>
                  </a:lnTo>
                  <a:lnTo>
                    <a:pt x="693" y="57"/>
                  </a:lnTo>
                  <a:lnTo>
                    <a:pt x="695" y="58"/>
                  </a:lnTo>
                  <a:lnTo>
                    <a:pt x="602" y="27"/>
                  </a:lnTo>
                  <a:lnTo>
                    <a:pt x="604" y="27"/>
                  </a:lnTo>
                  <a:lnTo>
                    <a:pt x="504" y="16"/>
                  </a:lnTo>
                  <a:lnTo>
                    <a:pt x="505" y="16"/>
                  </a:lnTo>
                  <a:lnTo>
                    <a:pt x="405" y="27"/>
                  </a:lnTo>
                  <a:lnTo>
                    <a:pt x="407" y="27"/>
                  </a:lnTo>
                  <a:lnTo>
                    <a:pt x="314" y="58"/>
                  </a:lnTo>
                  <a:lnTo>
                    <a:pt x="316" y="57"/>
                  </a:lnTo>
                  <a:lnTo>
                    <a:pt x="232" y="107"/>
                  </a:lnTo>
                  <a:lnTo>
                    <a:pt x="233" y="106"/>
                  </a:lnTo>
                  <a:lnTo>
                    <a:pt x="160" y="171"/>
                  </a:lnTo>
                  <a:lnTo>
                    <a:pt x="161" y="170"/>
                  </a:lnTo>
                  <a:lnTo>
                    <a:pt x="100" y="249"/>
                  </a:lnTo>
                  <a:lnTo>
                    <a:pt x="101" y="248"/>
                  </a:lnTo>
                  <a:lnTo>
                    <a:pt x="55" y="339"/>
                  </a:lnTo>
                  <a:lnTo>
                    <a:pt x="55" y="338"/>
                  </a:lnTo>
                  <a:lnTo>
                    <a:pt x="26" y="439"/>
                  </a:lnTo>
                  <a:lnTo>
                    <a:pt x="26" y="437"/>
                  </a:lnTo>
                  <a:lnTo>
                    <a:pt x="16" y="545"/>
                  </a:lnTo>
                  <a:lnTo>
                    <a:pt x="16" y="544"/>
                  </a:lnTo>
                  <a:lnTo>
                    <a:pt x="26" y="652"/>
                  </a:lnTo>
                  <a:close/>
                </a:path>
              </a:pathLst>
            </a:custGeom>
            <a:solidFill>
              <a:srgbClr val="000000"/>
            </a:solidFill>
            <a:ln w="0">
              <a:solidFill>
                <a:srgbClr val="000000"/>
              </a:solidFill>
              <a:round/>
              <a:headEnd/>
              <a:tailEnd/>
            </a:ln>
          </p:spPr>
          <p:txBody>
            <a:bodyPr/>
            <a:lstStyle/>
            <a:p>
              <a:endParaRPr lang="en-US"/>
            </a:p>
          </p:txBody>
        </p:sp>
        <p:sp>
          <p:nvSpPr>
            <p:cNvPr id="42119" name="Rectangle 137"/>
            <p:cNvSpPr>
              <a:spLocks noChangeArrowheads="1"/>
            </p:cNvSpPr>
            <p:nvPr/>
          </p:nvSpPr>
          <p:spPr bwMode="auto">
            <a:xfrm>
              <a:off x="1365" y="2464"/>
              <a:ext cx="90" cy="108"/>
            </a:xfrm>
            <a:prstGeom prst="rect">
              <a:avLst/>
            </a:prstGeom>
            <a:noFill/>
            <a:ln w="9525">
              <a:noFill/>
              <a:miter lim="800000"/>
              <a:headEnd/>
              <a:tailEnd/>
            </a:ln>
          </p:spPr>
          <p:txBody>
            <a:bodyPr wrap="none" lIns="0" tIns="0" rIns="0" bIns="0">
              <a:spAutoFit/>
            </a:bodyPr>
            <a:lstStyle/>
            <a:p>
              <a:r>
                <a:rPr lang="en-US" sz="1000">
                  <a:solidFill>
                    <a:srgbClr val="000000"/>
                  </a:solidFill>
                </a:rPr>
                <a:t>P</a:t>
              </a:r>
              <a:endParaRPr lang="en-US"/>
            </a:p>
          </p:txBody>
        </p:sp>
        <p:sp>
          <p:nvSpPr>
            <p:cNvPr id="42120" name="Freeform 138"/>
            <p:cNvSpPr>
              <a:spLocks/>
            </p:cNvSpPr>
            <p:nvPr/>
          </p:nvSpPr>
          <p:spPr bwMode="auto">
            <a:xfrm>
              <a:off x="1679" y="2291"/>
              <a:ext cx="446" cy="396"/>
            </a:xfrm>
            <a:custGeom>
              <a:avLst/>
              <a:gdLst>
                <a:gd name="T0" fmla="*/ 0 w 1584"/>
                <a:gd name="T1" fmla="*/ 16 h 1408"/>
                <a:gd name="T2" fmla="*/ 18 w 1584"/>
                <a:gd name="T3" fmla="*/ 0 h 1408"/>
                <a:gd name="T4" fmla="*/ 18 w 1584"/>
                <a:gd name="T5" fmla="*/ 0 h 1408"/>
                <a:gd name="T6" fmla="*/ 18 w 1584"/>
                <a:gd name="T7" fmla="*/ 0 h 1408"/>
                <a:gd name="T8" fmla="*/ 35 w 1584"/>
                <a:gd name="T9" fmla="*/ 16 h 1408"/>
                <a:gd name="T10" fmla="*/ 35 w 1584"/>
                <a:gd name="T11" fmla="*/ 16 h 1408"/>
                <a:gd name="T12" fmla="*/ 35 w 1584"/>
                <a:gd name="T13" fmla="*/ 16 h 1408"/>
                <a:gd name="T14" fmla="*/ 18 w 1584"/>
                <a:gd name="T15" fmla="*/ 31 h 1408"/>
                <a:gd name="T16" fmla="*/ 18 w 1584"/>
                <a:gd name="T17" fmla="*/ 31 h 1408"/>
                <a:gd name="T18" fmla="*/ 18 w 1584"/>
                <a:gd name="T19" fmla="*/ 31 h 1408"/>
                <a:gd name="T20" fmla="*/ 0 w 1584"/>
                <a:gd name="T21" fmla="*/ 16 h 1408"/>
                <a:gd name="T22" fmla="*/ 0 w 1584"/>
                <a:gd name="T23" fmla="*/ 16 h 140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84"/>
                <a:gd name="T37" fmla="*/ 0 h 1408"/>
                <a:gd name="T38" fmla="*/ 1584 w 1584"/>
                <a:gd name="T39" fmla="*/ 1408 h 140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84" h="1408">
                  <a:moveTo>
                    <a:pt x="0" y="704"/>
                  </a:moveTo>
                  <a:cubicBezTo>
                    <a:pt x="0" y="316"/>
                    <a:pt x="355" y="0"/>
                    <a:pt x="792" y="0"/>
                  </a:cubicBezTo>
                  <a:cubicBezTo>
                    <a:pt x="792" y="0"/>
                    <a:pt x="792" y="0"/>
                    <a:pt x="792" y="0"/>
                  </a:cubicBezTo>
                  <a:cubicBezTo>
                    <a:pt x="1230" y="0"/>
                    <a:pt x="1584" y="316"/>
                    <a:pt x="1584" y="704"/>
                  </a:cubicBezTo>
                  <a:cubicBezTo>
                    <a:pt x="1584" y="704"/>
                    <a:pt x="1584" y="704"/>
                    <a:pt x="1584" y="704"/>
                  </a:cubicBezTo>
                  <a:cubicBezTo>
                    <a:pt x="1584" y="1093"/>
                    <a:pt x="1230" y="1408"/>
                    <a:pt x="792" y="1408"/>
                  </a:cubicBezTo>
                  <a:cubicBezTo>
                    <a:pt x="792" y="1408"/>
                    <a:pt x="792" y="1408"/>
                    <a:pt x="792" y="1408"/>
                  </a:cubicBezTo>
                  <a:cubicBezTo>
                    <a:pt x="355" y="1408"/>
                    <a:pt x="0" y="1093"/>
                    <a:pt x="0" y="704"/>
                  </a:cubicBezTo>
                  <a:cubicBezTo>
                    <a:pt x="0" y="704"/>
                    <a:pt x="0" y="704"/>
                    <a:pt x="0" y="704"/>
                  </a:cubicBezTo>
                  <a:close/>
                </a:path>
              </a:pathLst>
            </a:custGeom>
            <a:solidFill>
              <a:srgbClr val="D1D1F0"/>
            </a:solidFill>
            <a:ln w="0">
              <a:solidFill>
                <a:srgbClr val="000000"/>
              </a:solidFill>
              <a:round/>
              <a:headEnd/>
              <a:tailEnd/>
            </a:ln>
          </p:spPr>
          <p:txBody>
            <a:bodyPr/>
            <a:lstStyle/>
            <a:p>
              <a:endParaRPr lang="en-US"/>
            </a:p>
          </p:txBody>
        </p:sp>
        <p:sp>
          <p:nvSpPr>
            <p:cNvPr id="42121" name="Freeform 139"/>
            <p:cNvSpPr>
              <a:spLocks noEditPoints="1"/>
            </p:cNvSpPr>
            <p:nvPr/>
          </p:nvSpPr>
          <p:spPr bwMode="auto">
            <a:xfrm>
              <a:off x="1677" y="2289"/>
              <a:ext cx="450" cy="400"/>
            </a:xfrm>
            <a:custGeom>
              <a:avLst/>
              <a:gdLst>
                <a:gd name="T0" fmla="*/ 0 w 1600"/>
                <a:gd name="T1" fmla="*/ 13 h 1424"/>
                <a:gd name="T2" fmla="*/ 2 w 1600"/>
                <a:gd name="T3" fmla="*/ 8 h 1424"/>
                <a:gd name="T4" fmla="*/ 5 w 1600"/>
                <a:gd name="T5" fmla="*/ 5 h 1424"/>
                <a:gd name="T6" fmla="*/ 8 w 1600"/>
                <a:gd name="T7" fmla="*/ 3 h 1424"/>
                <a:gd name="T8" fmla="*/ 12 w 1600"/>
                <a:gd name="T9" fmla="*/ 1 h 1424"/>
                <a:gd name="T10" fmla="*/ 18 w 1600"/>
                <a:gd name="T11" fmla="*/ 0 h 1424"/>
                <a:gd name="T12" fmla="*/ 23 w 1600"/>
                <a:gd name="T13" fmla="*/ 1 h 1424"/>
                <a:gd name="T14" fmla="*/ 28 w 1600"/>
                <a:gd name="T15" fmla="*/ 3 h 1424"/>
                <a:gd name="T16" fmla="*/ 30 w 1600"/>
                <a:gd name="T17" fmla="*/ 5 h 1424"/>
                <a:gd name="T18" fmla="*/ 33 w 1600"/>
                <a:gd name="T19" fmla="*/ 8 h 1424"/>
                <a:gd name="T20" fmla="*/ 35 w 1600"/>
                <a:gd name="T21" fmla="*/ 13 h 1424"/>
                <a:gd name="T22" fmla="*/ 35 w 1600"/>
                <a:gd name="T23" fmla="*/ 17 h 1424"/>
                <a:gd name="T24" fmla="*/ 34 w 1600"/>
                <a:gd name="T25" fmla="*/ 22 h 1424"/>
                <a:gd name="T26" fmla="*/ 33 w 1600"/>
                <a:gd name="T27" fmla="*/ 25 h 1424"/>
                <a:gd name="T28" fmla="*/ 28 w 1600"/>
                <a:gd name="T29" fmla="*/ 29 h 1424"/>
                <a:gd name="T30" fmla="*/ 25 w 1600"/>
                <a:gd name="T31" fmla="*/ 30 h 1424"/>
                <a:gd name="T32" fmla="*/ 20 w 1600"/>
                <a:gd name="T33" fmla="*/ 31 h 1424"/>
                <a:gd name="T34" fmla="*/ 14 w 1600"/>
                <a:gd name="T35" fmla="*/ 31 h 1424"/>
                <a:gd name="T36" fmla="*/ 11 w 1600"/>
                <a:gd name="T37" fmla="*/ 30 h 1424"/>
                <a:gd name="T38" fmla="*/ 5 w 1600"/>
                <a:gd name="T39" fmla="*/ 27 h 1424"/>
                <a:gd name="T40" fmla="*/ 3 w 1600"/>
                <a:gd name="T41" fmla="*/ 25 h 1424"/>
                <a:gd name="T42" fmla="*/ 1 w 1600"/>
                <a:gd name="T43" fmla="*/ 21 h 1424"/>
                <a:gd name="T44" fmla="*/ 0 w 1600"/>
                <a:gd name="T45" fmla="*/ 16 h 1424"/>
                <a:gd name="T46" fmla="*/ 1 w 1600"/>
                <a:gd name="T47" fmla="*/ 20 h 1424"/>
                <a:gd name="T48" fmla="*/ 3 w 1600"/>
                <a:gd name="T49" fmla="*/ 24 h 1424"/>
                <a:gd name="T50" fmla="*/ 5 w 1600"/>
                <a:gd name="T51" fmla="*/ 27 h 1424"/>
                <a:gd name="T52" fmla="*/ 11 w 1600"/>
                <a:gd name="T53" fmla="*/ 30 h 1424"/>
                <a:gd name="T54" fmla="*/ 14 w 1600"/>
                <a:gd name="T55" fmla="*/ 31 h 1424"/>
                <a:gd name="T56" fmla="*/ 19 w 1600"/>
                <a:gd name="T57" fmla="*/ 31 h 1424"/>
                <a:gd name="T58" fmla="*/ 24 w 1600"/>
                <a:gd name="T59" fmla="*/ 30 h 1424"/>
                <a:gd name="T60" fmla="*/ 28 w 1600"/>
                <a:gd name="T61" fmla="*/ 29 h 1424"/>
                <a:gd name="T62" fmla="*/ 32 w 1600"/>
                <a:gd name="T63" fmla="*/ 24 h 1424"/>
                <a:gd name="T64" fmla="*/ 34 w 1600"/>
                <a:gd name="T65" fmla="*/ 22 h 1424"/>
                <a:gd name="T66" fmla="*/ 35 w 1600"/>
                <a:gd name="T67" fmla="*/ 17 h 1424"/>
                <a:gd name="T68" fmla="*/ 35 w 1600"/>
                <a:gd name="T69" fmla="*/ 13 h 1424"/>
                <a:gd name="T70" fmla="*/ 33 w 1600"/>
                <a:gd name="T71" fmla="*/ 8 h 1424"/>
                <a:gd name="T72" fmla="*/ 30 w 1600"/>
                <a:gd name="T73" fmla="*/ 5 h 1424"/>
                <a:gd name="T74" fmla="*/ 28 w 1600"/>
                <a:gd name="T75" fmla="*/ 3 h 1424"/>
                <a:gd name="T76" fmla="*/ 23 w 1600"/>
                <a:gd name="T77" fmla="*/ 1 h 1424"/>
                <a:gd name="T78" fmla="*/ 18 w 1600"/>
                <a:gd name="T79" fmla="*/ 0 h 1424"/>
                <a:gd name="T80" fmla="*/ 13 w 1600"/>
                <a:gd name="T81" fmla="*/ 1 h 1424"/>
                <a:gd name="T82" fmla="*/ 8 w 1600"/>
                <a:gd name="T83" fmla="*/ 3 h 1424"/>
                <a:gd name="T84" fmla="*/ 5 w 1600"/>
                <a:gd name="T85" fmla="*/ 5 h 1424"/>
                <a:gd name="T86" fmla="*/ 3 w 1600"/>
                <a:gd name="T87" fmla="*/ 8 h 1424"/>
                <a:gd name="T88" fmla="*/ 1 w 1600"/>
                <a:gd name="T89" fmla="*/ 13 h 1424"/>
                <a:gd name="T90" fmla="*/ 1 w 1600"/>
                <a:gd name="T91" fmla="*/ 17 h 142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00"/>
                <a:gd name="T139" fmla="*/ 0 h 1424"/>
                <a:gd name="T140" fmla="*/ 1600 w 1600"/>
                <a:gd name="T141" fmla="*/ 1424 h 142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00" h="1424">
                  <a:moveTo>
                    <a:pt x="0" y="713"/>
                  </a:moveTo>
                  <a:lnTo>
                    <a:pt x="4" y="640"/>
                  </a:lnTo>
                  <a:lnTo>
                    <a:pt x="17" y="569"/>
                  </a:lnTo>
                  <a:lnTo>
                    <a:pt x="37" y="501"/>
                  </a:lnTo>
                  <a:lnTo>
                    <a:pt x="63" y="435"/>
                  </a:lnTo>
                  <a:lnTo>
                    <a:pt x="97" y="374"/>
                  </a:lnTo>
                  <a:lnTo>
                    <a:pt x="137" y="315"/>
                  </a:lnTo>
                  <a:cubicBezTo>
                    <a:pt x="137" y="315"/>
                    <a:pt x="137" y="314"/>
                    <a:pt x="138" y="314"/>
                  </a:cubicBezTo>
                  <a:lnTo>
                    <a:pt x="235" y="210"/>
                  </a:lnTo>
                  <a:cubicBezTo>
                    <a:pt x="235" y="210"/>
                    <a:pt x="235" y="209"/>
                    <a:pt x="236" y="209"/>
                  </a:cubicBezTo>
                  <a:lnTo>
                    <a:pt x="353" y="122"/>
                  </a:lnTo>
                  <a:cubicBezTo>
                    <a:pt x="353" y="122"/>
                    <a:pt x="354" y="121"/>
                    <a:pt x="354" y="121"/>
                  </a:cubicBezTo>
                  <a:lnTo>
                    <a:pt x="489" y="56"/>
                  </a:lnTo>
                  <a:cubicBezTo>
                    <a:pt x="489" y="56"/>
                    <a:pt x="490" y="56"/>
                    <a:pt x="490" y="56"/>
                  </a:cubicBezTo>
                  <a:lnTo>
                    <a:pt x="563" y="33"/>
                  </a:lnTo>
                  <a:lnTo>
                    <a:pt x="640" y="15"/>
                  </a:lnTo>
                  <a:lnTo>
                    <a:pt x="718" y="5"/>
                  </a:lnTo>
                  <a:lnTo>
                    <a:pt x="800" y="0"/>
                  </a:lnTo>
                  <a:lnTo>
                    <a:pt x="882" y="4"/>
                  </a:lnTo>
                  <a:lnTo>
                    <a:pt x="961" y="15"/>
                  </a:lnTo>
                  <a:lnTo>
                    <a:pt x="1038" y="33"/>
                  </a:lnTo>
                  <a:lnTo>
                    <a:pt x="1112" y="56"/>
                  </a:lnTo>
                  <a:cubicBezTo>
                    <a:pt x="1112" y="56"/>
                    <a:pt x="1113" y="56"/>
                    <a:pt x="1113" y="56"/>
                  </a:cubicBezTo>
                  <a:lnTo>
                    <a:pt x="1247" y="121"/>
                  </a:lnTo>
                  <a:cubicBezTo>
                    <a:pt x="1247" y="121"/>
                    <a:pt x="1248" y="122"/>
                    <a:pt x="1248" y="122"/>
                  </a:cubicBezTo>
                  <a:lnTo>
                    <a:pt x="1365" y="209"/>
                  </a:lnTo>
                  <a:cubicBezTo>
                    <a:pt x="1366" y="209"/>
                    <a:pt x="1366" y="210"/>
                    <a:pt x="1366" y="210"/>
                  </a:cubicBezTo>
                  <a:lnTo>
                    <a:pt x="1463" y="314"/>
                  </a:lnTo>
                  <a:cubicBezTo>
                    <a:pt x="1464" y="314"/>
                    <a:pt x="1464" y="315"/>
                    <a:pt x="1464" y="315"/>
                  </a:cubicBezTo>
                  <a:lnTo>
                    <a:pt x="1504" y="373"/>
                  </a:lnTo>
                  <a:lnTo>
                    <a:pt x="1538" y="435"/>
                  </a:lnTo>
                  <a:lnTo>
                    <a:pt x="1564" y="500"/>
                  </a:lnTo>
                  <a:lnTo>
                    <a:pt x="1584" y="568"/>
                  </a:lnTo>
                  <a:lnTo>
                    <a:pt x="1596" y="639"/>
                  </a:lnTo>
                  <a:lnTo>
                    <a:pt x="1600" y="712"/>
                  </a:lnTo>
                  <a:lnTo>
                    <a:pt x="1596" y="785"/>
                  </a:lnTo>
                  <a:lnTo>
                    <a:pt x="1584" y="856"/>
                  </a:lnTo>
                  <a:lnTo>
                    <a:pt x="1564" y="924"/>
                  </a:lnTo>
                  <a:lnTo>
                    <a:pt x="1538" y="989"/>
                  </a:lnTo>
                  <a:lnTo>
                    <a:pt x="1505" y="1052"/>
                  </a:lnTo>
                  <a:lnTo>
                    <a:pt x="1464" y="1111"/>
                  </a:lnTo>
                  <a:cubicBezTo>
                    <a:pt x="1464" y="1111"/>
                    <a:pt x="1464" y="1112"/>
                    <a:pt x="1463" y="1112"/>
                  </a:cubicBezTo>
                  <a:lnTo>
                    <a:pt x="1366" y="1216"/>
                  </a:lnTo>
                  <a:cubicBezTo>
                    <a:pt x="1366" y="1216"/>
                    <a:pt x="1366" y="1217"/>
                    <a:pt x="1365" y="1217"/>
                  </a:cubicBezTo>
                  <a:lnTo>
                    <a:pt x="1248" y="1303"/>
                  </a:lnTo>
                  <a:cubicBezTo>
                    <a:pt x="1248" y="1303"/>
                    <a:pt x="1247" y="1303"/>
                    <a:pt x="1247" y="1304"/>
                  </a:cubicBezTo>
                  <a:lnTo>
                    <a:pt x="1113" y="1369"/>
                  </a:lnTo>
                  <a:cubicBezTo>
                    <a:pt x="1113" y="1369"/>
                    <a:pt x="1112" y="1369"/>
                    <a:pt x="1112" y="1369"/>
                  </a:cubicBezTo>
                  <a:lnTo>
                    <a:pt x="1039" y="1392"/>
                  </a:lnTo>
                  <a:lnTo>
                    <a:pt x="962" y="1410"/>
                  </a:lnTo>
                  <a:lnTo>
                    <a:pt x="882" y="1420"/>
                  </a:lnTo>
                  <a:lnTo>
                    <a:pt x="801" y="1424"/>
                  </a:lnTo>
                  <a:lnTo>
                    <a:pt x="719" y="1420"/>
                  </a:lnTo>
                  <a:lnTo>
                    <a:pt x="640" y="1410"/>
                  </a:lnTo>
                  <a:lnTo>
                    <a:pt x="564" y="1392"/>
                  </a:lnTo>
                  <a:lnTo>
                    <a:pt x="490" y="1369"/>
                  </a:lnTo>
                  <a:cubicBezTo>
                    <a:pt x="490" y="1369"/>
                    <a:pt x="489" y="1369"/>
                    <a:pt x="489" y="1369"/>
                  </a:cubicBezTo>
                  <a:lnTo>
                    <a:pt x="354" y="1304"/>
                  </a:lnTo>
                  <a:cubicBezTo>
                    <a:pt x="354" y="1303"/>
                    <a:pt x="353" y="1303"/>
                    <a:pt x="353" y="1303"/>
                  </a:cubicBezTo>
                  <a:lnTo>
                    <a:pt x="236" y="1217"/>
                  </a:lnTo>
                  <a:cubicBezTo>
                    <a:pt x="235" y="1217"/>
                    <a:pt x="235" y="1216"/>
                    <a:pt x="235" y="1216"/>
                  </a:cubicBezTo>
                  <a:lnTo>
                    <a:pt x="138" y="1112"/>
                  </a:lnTo>
                  <a:cubicBezTo>
                    <a:pt x="137" y="1112"/>
                    <a:pt x="137" y="1111"/>
                    <a:pt x="137" y="1111"/>
                  </a:cubicBezTo>
                  <a:lnTo>
                    <a:pt x="98" y="1053"/>
                  </a:lnTo>
                  <a:lnTo>
                    <a:pt x="63" y="990"/>
                  </a:lnTo>
                  <a:lnTo>
                    <a:pt x="37" y="924"/>
                  </a:lnTo>
                  <a:lnTo>
                    <a:pt x="17" y="857"/>
                  </a:lnTo>
                  <a:lnTo>
                    <a:pt x="5" y="786"/>
                  </a:lnTo>
                  <a:lnTo>
                    <a:pt x="0" y="713"/>
                  </a:lnTo>
                  <a:close/>
                  <a:moveTo>
                    <a:pt x="20" y="783"/>
                  </a:moveTo>
                  <a:lnTo>
                    <a:pt x="32" y="852"/>
                  </a:lnTo>
                  <a:lnTo>
                    <a:pt x="52" y="918"/>
                  </a:lnTo>
                  <a:lnTo>
                    <a:pt x="77" y="983"/>
                  </a:lnTo>
                  <a:lnTo>
                    <a:pt x="111" y="1044"/>
                  </a:lnTo>
                  <a:lnTo>
                    <a:pt x="150" y="1102"/>
                  </a:lnTo>
                  <a:lnTo>
                    <a:pt x="149" y="1101"/>
                  </a:lnTo>
                  <a:lnTo>
                    <a:pt x="246" y="1205"/>
                  </a:lnTo>
                  <a:lnTo>
                    <a:pt x="245" y="1204"/>
                  </a:lnTo>
                  <a:lnTo>
                    <a:pt x="362" y="1290"/>
                  </a:lnTo>
                  <a:lnTo>
                    <a:pt x="361" y="1289"/>
                  </a:lnTo>
                  <a:lnTo>
                    <a:pt x="496" y="1354"/>
                  </a:lnTo>
                  <a:lnTo>
                    <a:pt x="495" y="1354"/>
                  </a:lnTo>
                  <a:lnTo>
                    <a:pt x="567" y="1377"/>
                  </a:lnTo>
                  <a:lnTo>
                    <a:pt x="642" y="1395"/>
                  </a:lnTo>
                  <a:lnTo>
                    <a:pt x="720" y="1404"/>
                  </a:lnTo>
                  <a:lnTo>
                    <a:pt x="800" y="1408"/>
                  </a:lnTo>
                  <a:lnTo>
                    <a:pt x="880" y="1405"/>
                  </a:lnTo>
                  <a:lnTo>
                    <a:pt x="959" y="1395"/>
                  </a:lnTo>
                  <a:lnTo>
                    <a:pt x="1034" y="1377"/>
                  </a:lnTo>
                  <a:lnTo>
                    <a:pt x="1107" y="1354"/>
                  </a:lnTo>
                  <a:lnTo>
                    <a:pt x="1106" y="1354"/>
                  </a:lnTo>
                  <a:lnTo>
                    <a:pt x="1240" y="1289"/>
                  </a:lnTo>
                  <a:lnTo>
                    <a:pt x="1239" y="1290"/>
                  </a:lnTo>
                  <a:lnTo>
                    <a:pt x="1356" y="1204"/>
                  </a:lnTo>
                  <a:lnTo>
                    <a:pt x="1355" y="1205"/>
                  </a:lnTo>
                  <a:lnTo>
                    <a:pt x="1452" y="1101"/>
                  </a:lnTo>
                  <a:lnTo>
                    <a:pt x="1451" y="1102"/>
                  </a:lnTo>
                  <a:lnTo>
                    <a:pt x="1490" y="1045"/>
                  </a:lnTo>
                  <a:lnTo>
                    <a:pt x="1523" y="983"/>
                  </a:lnTo>
                  <a:lnTo>
                    <a:pt x="1549" y="919"/>
                  </a:lnTo>
                  <a:lnTo>
                    <a:pt x="1569" y="853"/>
                  </a:lnTo>
                  <a:lnTo>
                    <a:pt x="1580" y="784"/>
                  </a:lnTo>
                  <a:lnTo>
                    <a:pt x="1584" y="713"/>
                  </a:lnTo>
                  <a:lnTo>
                    <a:pt x="1581" y="642"/>
                  </a:lnTo>
                  <a:lnTo>
                    <a:pt x="1569" y="573"/>
                  </a:lnTo>
                  <a:lnTo>
                    <a:pt x="1549" y="506"/>
                  </a:lnTo>
                  <a:lnTo>
                    <a:pt x="1523" y="442"/>
                  </a:lnTo>
                  <a:lnTo>
                    <a:pt x="1491" y="382"/>
                  </a:lnTo>
                  <a:lnTo>
                    <a:pt x="1451" y="324"/>
                  </a:lnTo>
                  <a:lnTo>
                    <a:pt x="1452" y="325"/>
                  </a:lnTo>
                  <a:lnTo>
                    <a:pt x="1355" y="221"/>
                  </a:lnTo>
                  <a:lnTo>
                    <a:pt x="1356" y="222"/>
                  </a:lnTo>
                  <a:lnTo>
                    <a:pt x="1239" y="135"/>
                  </a:lnTo>
                  <a:lnTo>
                    <a:pt x="1240" y="136"/>
                  </a:lnTo>
                  <a:lnTo>
                    <a:pt x="1106" y="71"/>
                  </a:lnTo>
                  <a:lnTo>
                    <a:pt x="1107" y="71"/>
                  </a:lnTo>
                  <a:lnTo>
                    <a:pt x="1035" y="48"/>
                  </a:lnTo>
                  <a:lnTo>
                    <a:pt x="959" y="30"/>
                  </a:lnTo>
                  <a:lnTo>
                    <a:pt x="881" y="20"/>
                  </a:lnTo>
                  <a:lnTo>
                    <a:pt x="801" y="16"/>
                  </a:lnTo>
                  <a:lnTo>
                    <a:pt x="720" y="20"/>
                  </a:lnTo>
                  <a:lnTo>
                    <a:pt x="643" y="30"/>
                  </a:lnTo>
                  <a:lnTo>
                    <a:pt x="568" y="48"/>
                  </a:lnTo>
                  <a:lnTo>
                    <a:pt x="495" y="71"/>
                  </a:lnTo>
                  <a:lnTo>
                    <a:pt x="496" y="71"/>
                  </a:lnTo>
                  <a:lnTo>
                    <a:pt x="361" y="136"/>
                  </a:lnTo>
                  <a:lnTo>
                    <a:pt x="362" y="135"/>
                  </a:lnTo>
                  <a:lnTo>
                    <a:pt x="245" y="222"/>
                  </a:lnTo>
                  <a:lnTo>
                    <a:pt x="246" y="221"/>
                  </a:lnTo>
                  <a:lnTo>
                    <a:pt x="149" y="325"/>
                  </a:lnTo>
                  <a:lnTo>
                    <a:pt x="150" y="324"/>
                  </a:lnTo>
                  <a:lnTo>
                    <a:pt x="111" y="381"/>
                  </a:lnTo>
                  <a:lnTo>
                    <a:pt x="78" y="441"/>
                  </a:lnTo>
                  <a:lnTo>
                    <a:pt x="52" y="506"/>
                  </a:lnTo>
                  <a:lnTo>
                    <a:pt x="32" y="572"/>
                  </a:lnTo>
                  <a:lnTo>
                    <a:pt x="20" y="641"/>
                  </a:lnTo>
                  <a:lnTo>
                    <a:pt x="16" y="712"/>
                  </a:lnTo>
                  <a:lnTo>
                    <a:pt x="20" y="783"/>
                  </a:lnTo>
                  <a:close/>
                </a:path>
              </a:pathLst>
            </a:custGeom>
            <a:solidFill>
              <a:srgbClr val="000000"/>
            </a:solidFill>
            <a:ln w="0">
              <a:solidFill>
                <a:srgbClr val="000000"/>
              </a:solidFill>
              <a:round/>
              <a:headEnd/>
              <a:tailEnd/>
            </a:ln>
          </p:spPr>
          <p:txBody>
            <a:bodyPr/>
            <a:lstStyle/>
            <a:p>
              <a:endParaRPr lang="en-US"/>
            </a:p>
          </p:txBody>
        </p:sp>
        <p:sp>
          <p:nvSpPr>
            <p:cNvPr id="42122" name="Freeform 140"/>
            <p:cNvSpPr>
              <a:spLocks noEditPoints="1"/>
            </p:cNvSpPr>
            <p:nvPr/>
          </p:nvSpPr>
          <p:spPr bwMode="auto">
            <a:xfrm>
              <a:off x="1677" y="2289"/>
              <a:ext cx="450" cy="400"/>
            </a:xfrm>
            <a:custGeom>
              <a:avLst/>
              <a:gdLst>
                <a:gd name="T0" fmla="*/ 0 w 1600"/>
                <a:gd name="T1" fmla="*/ 13 h 1424"/>
                <a:gd name="T2" fmla="*/ 2 w 1600"/>
                <a:gd name="T3" fmla="*/ 8 h 1424"/>
                <a:gd name="T4" fmla="*/ 5 w 1600"/>
                <a:gd name="T5" fmla="*/ 5 h 1424"/>
                <a:gd name="T6" fmla="*/ 8 w 1600"/>
                <a:gd name="T7" fmla="*/ 3 h 1424"/>
                <a:gd name="T8" fmla="*/ 12 w 1600"/>
                <a:gd name="T9" fmla="*/ 1 h 1424"/>
                <a:gd name="T10" fmla="*/ 18 w 1600"/>
                <a:gd name="T11" fmla="*/ 0 h 1424"/>
                <a:gd name="T12" fmla="*/ 23 w 1600"/>
                <a:gd name="T13" fmla="*/ 1 h 1424"/>
                <a:gd name="T14" fmla="*/ 28 w 1600"/>
                <a:gd name="T15" fmla="*/ 3 h 1424"/>
                <a:gd name="T16" fmla="*/ 30 w 1600"/>
                <a:gd name="T17" fmla="*/ 5 h 1424"/>
                <a:gd name="T18" fmla="*/ 33 w 1600"/>
                <a:gd name="T19" fmla="*/ 8 h 1424"/>
                <a:gd name="T20" fmla="*/ 35 w 1600"/>
                <a:gd name="T21" fmla="*/ 13 h 1424"/>
                <a:gd name="T22" fmla="*/ 35 w 1600"/>
                <a:gd name="T23" fmla="*/ 17 h 1424"/>
                <a:gd name="T24" fmla="*/ 34 w 1600"/>
                <a:gd name="T25" fmla="*/ 22 h 1424"/>
                <a:gd name="T26" fmla="*/ 33 w 1600"/>
                <a:gd name="T27" fmla="*/ 25 h 1424"/>
                <a:gd name="T28" fmla="*/ 28 w 1600"/>
                <a:gd name="T29" fmla="*/ 29 h 1424"/>
                <a:gd name="T30" fmla="*/ 25 w 1600"/>
                <a:gd name="T31" fmla="*/ 30 h 1424"/>
                <a:gd name="T32" fmla="*/ 20 w 1600"/>
                <a:gd name="T33" fmla="*/ 31 h 1424"/>
                <a:gd name="T34" fmla="*/ 14 w 1600"/>
                <a:gd name="T35" fmla="*/ 31 h 1424"/>
                <a:gd name="T36" fmla="*/ 11 w 1600"/>
                <a:gd name="T37" fmla="*/ 30 h 1424"/>
                <a:gd name="T38" fmla="*/ 5 w 1600"/>
                <a:gd name="T39" fmla="*/ 27 h 1424"/>
                <a:gd name="T40" fmla="*/ 3 w 1600"/>
                <a:gd name="T41" fmla="*/ 25 h 1424"/>
                <a:gd name="T42" fmla="*/ 1 w 1600"/>
                <a:gd name="T43" fmla="*/ 21 h 1424"/>
                <a:gd name="T44" fmla="*/ 0 w 1600"/>
                <a:gd name="T45" fmla="*/ 16 h 1424"/>
                <a:gd name="T46" fmla="*/ 1 w 1600"/>
                <a:gd name="T47" fmla="*/ 20 h 1424"/>
                <a:gd name="T48" fmla="*/ 3 w 1600"/>
                <a:gd name="T49" fmla="*/ 24 h 1424"/>
                <a:gd name="T50" fmla="*/ 5 w 1600"/>
                <a:gd name="T51" fmla="*/ 27 h 1424"/>
                <a:gd name="T52" fmla="*/ 11 w 1600"/>
                <a:gd name="T53" fmla="*/ 30 h 1424"/>
                <a:gd name="T54" fmla="*/ 14 w 1600"/>
                <a:gd name="T55" fmla="*/ 31 h 1424"/>
                <a:gd name="T56" fmla="*/ 19 w 1600"/>
                <a:gd name="T57" fmla="*/ 31 h 1424"/>
                <a:gd name="T58" fmla="*/ 24 w 1600"/>
                <a:gd name="T59" fmla="*/ 30 h 1424"/>
                <a:gd name="T60" fmla="*/ 28 w 1600"/>
                <a:gd name="T61" fmla="*/ 29 h 1424"/>
                <a:gd name="T62" fmla="*/ 32 w 1600"/>
                <a:gd name="T63" fmla="*/ 24 h 1424"/>
                <a:gd name="T64" fmla="*/ 34 w 1600"/>
                <a:gd name="T65" fmla="*/ 22 h 1424"/>
                <a:gd name="T66" fmla="*/ 35 w 1600"/>
                <a:gd name="T67" fmla="*/ 17 h 1424"/>
                <a:gd name="T68" fmla="*/ 35 w 1600"/>
                <a:gd name="T69" fmla="*/ 13 h 1424"/>
                <a:gd name="T70" fmla="*/ 33 w 1600"/>
                <a:gd name="T71" fmla="*/ 8 h 1424"/>
                <a:gd name="T72" fmla="*/ 30 w 1600"/>
                <a:gd name="T73" fmla="*/ 5 h 1424"/>
                <a:gd name="T74" fmla="*/ 28 w 1600"/>
                <a:gd name="T75" fmla="*/ 3 h 1424"/>
                <a:gd name="T76" fmla="*/ 23 w 1600"/>
                <a:gd name="T77" fmla="*/ 1 h 1424"/>
                <a:gd name="T78" fmla="*/ 18 w 1600"/>
                <a:gd name="T79" fmla="*/ 0 h 1424"/>
                <a:gd name="T80" fmla="*/ 13 w 1600"/>
                <a:gd name="T81" fmla="*/ 1 h 1424"/>
                <a:gd name="T82" fmla="*/ 8 w 1600"/>
                <a:gd name="T83" fmla="*/ 3 h 1424"/>
                <a:gd name="T84" fmla="*/ 5 w 1600"/>
                <a:gd name="T85" fmla="*/ 5 h 1424"/>
                <a:gd name="T86" fmla="*/ 3 w 1600"/>
                <a:gd name="T87" fmla="*/ 8 h 1424"/>
                <a:gd name="T88" fmla="*/ 1 w 1600"/>
                <a:gd name="T89" fmla="*/ 13 h 1424"/>
                <a:gd name="T90" fmla="*/ 1 w 1600"/>
                <a:gd name="T91" fmla="*/ 17 h 142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600"/>
                <a:gd name="T139" fmla="*/ 0 h 1424"/>
                <a:gd name="T140" fmla="*/ 1600 w 1600"/>
                <a:gd name="T141" fmla="*/ 1424 h 142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600" h="1424">
                  <a:moveTo>
                    <a:pt x="0" y="713"/>
                  </a:moveTo>
                  <a:lnTo>
                    <a:pt x="4" y="640"/>
                  </a:lnTo>
                  <a:lnTo>
                    <a:pt x="17" y="569"/>
                  </a:lnTo>
                  <a:lnTo>
                    <a:pt x="37" y="501"/>
                  </a:lnTo>
                  <a:lnTo>
                    <a:pt x="63" y="435"/>
                  </a:lnTo>
                  <a:lnTo>
                    <a:pt x="97" y="374"/>
                  </a:lnTo>
                  <a:lnTo>
                    <a:pt x="137" y="315"/>
                  </a:lnTo>
                  <a:cubicBezTo>
                    <a:pt x="137" y="315"/>
                    <a:pt x="137" y="314"/>
                    <a:pt x="138" y="314"/>
                  </a:cubicBezTo>
                  <a:lnTo>
                    <a:pt x="235" y="210"/>
                  </a:lnTo>
                  <a:cubicBezTo>
                    <a:pt x="235" y="210"/>
                    <a:pt x="235" y="209"/>
                    <a:pt x="236" y="209"/>
                  </a:cubicBezTo>
                  <a:lnTo>
                    <a:pt x="353" y="122"/>
                  </a:lnTo>
                  <a:cubicBezTo>
                    <a:pt x="353" y="122"/>
                    <a:pt x="354" y="121"/>
                    <a:pt x="354" y="121"/>
                  </a:cubicBezTo>
                  <a:lnTo>
                    <a:pt x="489" y="56"/>
                  </a:lnTo>
                  <a:cubicBezTo>
                    <a:pt x="489" y="56"/>
                    <a:pt x="490" y="56"/>
                    <a:pt x="490" y="56"/>
                  </a:cubicBezTo>
                  <a:lnTo>
                    <a:pt x="563" y="33"/>
                  </a:lnTo>
                  <a:lnTo>
                    <a:pt x="640" y="15"/>
                  </a:lnTo>
                  <a:lnTo>
                    <a:pt x="718" y="5"/>
                  </a:lnTo>
                  <a:lnTo>
                    <a:pt x="800" y="0"/>
                  </a:lnTo>
                  <a:lnTo>
                    <a:pt x="882" y="4"/>
                  </a:lnTo>
                  <a:lnTo>
                    <a:pt x="961" y="15"/>
                  </a:lnTo>
                  <a:lnTo>
                    <a:pt x="1038" y="33"/>
                  </a:lnTo>
                  <a:lnTo>
                    <a:pt x="1112" y="56"/>
                  </a:lnTo>
                  <a:cubicBezTo>
                    <a:pt x="1112" y="56"/>
                    <a:pt x="1113" y="56"/>
                    <a:pt x="1113" y="56"/>
                  </a:cubicBezTo>
                  <a:lnTo>
                    <a:pt x="1247" y="121"/>
                  </a:lnTo>
                  <a:cubicBezTo>
                    <a:pt x="1247" y="121"/>
                    <a:pt x="1248" y="122"/>
                    <a:pt x="1248" y="122"/>
                  </a:cubicBezTo>
                  <a:lnTo>
                    <a:pt x="1365" y="209"/>
                  </a:lnTo>
                  <a:cubicBezTo>
                    <a:pt x="1366" y="209"/>
                    <a:pt x="1366" y="210"/>
                    <a:pt x="1366" y="210"/>
                  </a:cubicBezTo>
                  <a:lnTo>
                    <a:pt x="1463" y="314"/>
                  </a:lnTo>
                  <a:cubicBezTo>
                    <a:pt x="1464" y="314"/>
                    <a:pt x="1464" y="315"/>
                    <a:pt x="1464" y="315"/>
                  </a:cubicBezTo>
                  <a:lnTo>
                    <a:pt x="1504" y="373"/>
                  </a:lnTo>
                  <a:lnTo>
                    <a:pt x="1538" y="435"/>
                  </a:lnTo>
                  <a:lnTo>
                    <a:pt x="1564" y="500"/>
                  </a:lnTo>
                  <a:lnTo>
                    <a:pt x="1584" y="568"/>
                  </a:lnTo>
                  <a:lnTo>
                    <a:pt x="1596" y="639"/>
                  </a:lnTo>
                  <a:lnTo>
                    <a:pt x="1600" y="712"/>
                  </a:lnTo>
                  <a:lnTo>
                    <a:pt x="1596" y="785"/>
                  </a:lnTo>
                  <a:lnTo>
                    <a:pt x="1584" y="856"/>
                  </a:lnTo>
                  <a:lnTo>
                    <a:pt x="1564" y="924"/>
                  </a:lnTo>
                  <a:lnTo>
                    <a:pt x="1538" y="989"/>
                  </a:lnTo>
                  <a:lnTo>
                    <a:pt x="1505" y="1052"/>
                  </a:lnTo>
                  <a:lnTo>
                    <a:pt x="1464" y="1111"/>
                  </a:lnTo>
                  <a:cubicBezTo>
                    <a:pt x="1464" y="1111"/>
                    <a:pt x="1464" y="1112"/>
                    <a:pt x="1463" y="1112"/>
                  </a:cubicBezTo>
                  <a:lnTo>
                    <a:pt x="1366" y="1216"/>
                  </a:lnTo>
                  <a:cubicBezTo>
                    <a:pt x="1366" y="1216"/>
                    <a:pt x="1366" y="1217"/>
                    <a:pt x="1365" y="1217"/>
                  </a:cubicBezTo>
                  <a:lnTo>
                    <a:pt x="1248" y="1303"/>
                  </a:lnTo>
                  <a:cubicBezTo>
                    <a:pt x="1248" y="1303"/>
                    <a:pt x="1247" y="1303"/>
                    <a:pt x="1247" y="1304"/>
                  </a:cubicBezTo>
                  <a:lnTo>
                    <a:pt x="1113" y="1369"/>
                  </a:lnTo>
                  <a:cubicBezTo>
                    <a:pt x="1113" y="1369"/>
                    <a:pt x="1112" y="1369"/>
                    <a:pt x="1112" y="1369"/>
                  </a:cubicBezTo>
                  <a:lnTo>
                    <a:pt x="1039" y="1392"/>
                  </a:lnTo>
                  <a:lnTo>
                    <a:pt x="962" y="1410"/>
                  </a:lnTo>
                  <a:lnTo>
                    <a:pt x="882" y="1420"/>
                  </a:lnTo>
                  <a:lnTo>
                    <a:pt x="801" y="1424"/>
                  </a:lnTo>
                  <a:lnTo>
                    <a:pt x="719" y="1420"/>
                  </a:lnTo>
                  <a:lnTo>
                    <a:pt x="640" y="1410"/>
                  </a:lnTo>
                  <a:lnTo>
                    <a:pt x="564" y="1392"/>
                  </a:lnTo>
                  <a:lnTo>
                    <a:pt x="490" y="1369"/>
                  </a:lnTo>
                  <a:cubicBezTo>
                    <a:pt x="490" y="1369"/>
                    <a:pt x="489" y="1369"/>
                    <a:pt x="489" y="1369"/>
                  </a:cubicBezTo>
                  <a:lnTo>
                    <a:pt x="354" y="1304"/>
                  </a:lnTo>
                  <a:cubicBezTo>
                    <a:pt x="354" y="1303"/>
                    <a:pt x="353" y="1303"/>
                    <a:pt x="353" y="1303"/>
                  </a:cubicBezTo>
                  <a:lnTo>
                    <a:pt x="236" y="1217"/>
                  </a:lnTo>
                  <a:cubicBezTo>
                    <a:pt x="235" y="1217"/>
                    <a:pt x="235" y="1216"/>
                    <a:pt x="235" y="1216"/>
                  </a:cubicBezTo>
                  <a:lnTo>
                    <a:pt x="138" y="1112"/>
                  </a:lnTo>
                  <a:cubicBezTo>
                    <a:pt x="137" y="1112"/>
                    <a:pt x="137" y="1111"/>
                    <a:pt x="137" y="1111"/>
                  </a:cubicBezTo>
                  <a:lnTo>
                    <a:pt x="98" y="1053"/>
                  </a:lnTo>
                  <a:lnTo>
                    <a:pt x="63" y="990"/>
                  </a:lnTo>
                  <a:lnTo>
                    <a:pt x="37" y="924"/>
                  </a:lnTo>
                  <a:lnTo>
                    <a:pt x="17" y="857"/>
                  </a:lnTo>
                  <a:lnTo>
                    <a:pt x="5" y="786"/>
                  </a:lnTo>
                  <a:lnTo>
                    <a:pt x="0" y="713"/>
                  </a:lnTo>
                  <a:close/>
                  <a:moveTo>
                    <a:pt x="20" y="783"/>
                  </a:moveTo>
                  <a:lnTo>
                    <a:pt x="32" y="852"/>
                  </a:lnTo>
                  <a:lnTo>
                    <a:pt x="52" y="918"/>
                  </a:lnTo>
                  <a:lnTo>
                    <a:pt x="77" y="983"/>
                  </a:lnTo>
                  <a:lnTo>
                    <a:pt x="111" y="1044"/>
                  </a:lnTo>
                  <a:lnTo>
                    <a:pt x="150" y="1102"/>
                  </a:lnTo>
                  <a:lnTo>
                    <a:pt x="149" y="1101"/>
                  </a:lnTo>
                  <a:lnTo>
                    <a:pt x="246" y="1205"/>
                  </a:lnTo>
                  <a:lnTo>
                    <a:pt x="245" y="1204"/>
                  </a:lnTo>
                  <a:lnTo>
                    <a:pt x="362" y="1290"/>
                  </a:lnTo>
                  <a:lnTo>
                    <a:pt x="361" y="1289"/>
                  </a:lnTo>
                  <a:lnTo>
                    <a:pt x="496" y="1354"/>
                  </a:lnTo>
                  <a:lnTo>
                    <a:pt x="495" y="1354"/>
                  </a:lnTo>
                  <a:lnTo>
                    <a:pt x="567" y="1377"/>
                  </a:lnTo>
                  <a:lnTo>
                    <a:pt x="642" y="1395"/>
                  </a:lnTo>
                  <a:lnTo>
                    <a:pt x="720" y="1404"/>
                  </a:lnTo>
                  <a:lnTo>
                    <a:pt x="800" y="1408"/>
                  </a:lnTo>
                  <a:lnTo>
                    <a:pt x="880" y="1405"/>
                  </a:lnTo>
                  <a:lnTo>
                    <a:pt x="959" y="1395"/>
                  </a:lnTo>
                  <a:lnTo>
                    <a:pt x="1034" y="1377"/>
                  </a:lnTo>
                  <a:lnTo>
                    <a:pt x="1107" y="1354"/>
                  </a:lnTo>
                  <a:lnTo>
                    <a:pt x="1106" y="1354"/>
                  </a:lnTo>
                  <a:lnTo>
                    <a:pt x="1240" y="1289"/>
                  </a:lnTo>
                  <a:lnTo>
                    <a:pt x="1239" y="1290"/>
                  </a:lnTo>
                  <a:lnTo>
                    <a:pt x="1356" y="1204"/>
                  </a:lnTo>
                  <a:lnTo>
                    <a:pt x="1355" y="1205"/>
                  </a:lnTo>
                  <a:lnTo>
                    <a:pt x="1452" y="1101"/>
                  </a:lnTo>
                  <a:lnTo>
                    <a:pt x="1451" y="1102"/>
                  </a:lnTo>
                  <a:lnTo>
                    <a:pt x="1490" y="1045"/>
                  </a:lnTo>
                  <a:lnTo>
                    <a:pt x="1523" y="983"/>
                  </a:lnTo>
                  <a:lnTo>
                    <a:pt x="1549" y="919"/>
                  </a:lnTo>
                  <a:lnTo>
                    <a:pt x="1569" y="853"/>
                  </a:lnTo>
                  <a:lnTo>
                    <a:pt x="1580" y="784"/>
                  </a:lnTo>
                  <a:lnTo>
                    <a:pt x="1584" y="713"/>
                  </a:lnTo>
                  <a:lnTo>
                    <a:pt x="1581" y="642"/>
                  </a:lnTo>
                  <a:lnTo>
                    <a:pt x="1569" y="573"/>
                  </a:lnTo>
                  <a:lnTo>
                    <a:pt x="1549" y="506"/>
                  </a:lnTo>
                  <a:lnTo>
                    <a:pt x="1523" y="442"/>
                  </a:lnTo>
                  <a:lnTo>
                    <a:pt x="1491" y="382"/>
                  </a:lnTo>
                  <a:lnTo>
                    <a:pt x="1451" y="324"/>
                  </a:lnTo>
                  <a:lnTo>
                    <a:pt x="1452" y="325"/>
                  </a:lnTo>
                  <a:lnTo>
                    <a:pt x="1355" y="221"/>
                  </a:lnTo>
                  <a:lnTo>
                    <a:pt x="1356" y="222"/>
                  </a:lnTo>
                  <a:lnTo>
                    <a:pt x="1239" y="135"/>
                  </a:lnTo>
                  <a:lnTo>
                    <a:pt x="1240" y="136"/>
                  </a:lnTo>
                  <a:lnTo>
                    <a:pt x="1106" y="71"/>
                  </a:lnTo>
                  <a:lnTo>
                    <a:pt x="1107" y="71"/>
                  </a:lnTo>
                  <a:lnTo>
                    <a:pt x="1035" y="48"/>
                  </a:lnTo>
                  <a:lnTo>
                    <a:pt x="959" y="30"/>
                  </a:lnTo>
                  <a:lnTo>
                    <a:pt x="881" y="20"/>
                  </a:lnTo>
                  <a:lnTo>
                    <a:pt x="801" y="16"/>
                  </a:lnTo>
                  <a:lnTo>
                    <a:pt x="720" y="20"/>
                  </a:lnTo>
                  <a:lnTo>
                    <a:pt x="643" y="30"/>
                  </a:lnTo>
                  <a:lnTo>
                    <a:pt x="568" y="48"/>
                  </a:lnTo>
                  <a:lnTo>
                    <a:pt x="495" y="71"/>
                  </a:lnTo>
                  <a:lnTo>
                    <a:pt x="496" y="71"/>
                  </a:lnTo>
                  <a:lnTo>
                    <a:pt x="361" y="136"/>
                  </a:lnTo>
                  <a:lnTo>
                    <a:pt x="362" y="135"/>
                  </a:lnTo>
                  <a:lnTo>
                    <a:pt x="245" y="222"/>
                  </a:lnTo>
                  <a:lnTo>
                    <a:pt x="246" y="221"/>
                  </a:lnTo>
                  <a:lnTo>
                    <a:pt x="149" y="325"/>
                  </a:lnTo>
                  <a:lnTo>
                    <a:pt x="150" y="324"/>
                  </a:lnTo>
                  <a:lnTo>
                    <a:pt x="111" y="381"/>
                  </a:lnTo>
                  <a:lnTo>
                    <a:pt x="78" y="441"/>
                  </a:lnTo>
                  <a:lnTo>
                    <a:pt x="52" y="506"/>
                  </a:lnTo>
                  <a:lnTo>
                    <a:pt x="32" y="572"/>
                  </a:lnTo>
                  <a:lnTo>
                    <a:pt x="20" y="641"/>
                  </a:lnTo>
                  <a:lnTo>
                    <a:pt x="16" y="712"/>
                  </a:lnTo>
                  <a:lnTo>
                    <a:pt x="20" y="783"/>
                  </a:lnTo>
                  <a:close/>
                </a:path>
              </a:pathLst>
            </a:custGeom>
            <a:solidFill>
              <a:srgbClr val="000000"/>
            </a:solidFill>
            <a:ln w="0">
              <a:solidFill>
                <a:srgbClr val="000000"/>
              </a:solidFill>
              <a:round/>
              <a:headEnd/>
              <a:tailEnd/>
            </a:ln>
          </p:spPr>
          <p:txBody>
            <a:bodyPr/>
            <a:lstStyle/>
            <a:p>
              <a:endParaRPr lang="en-US"/>
            </a:p>
          </p:txBody>
        </p:sp>
        <p:sp>
          <p:nvSpPr>
            <p:cNvPr id="42123" name="Rectangle 141"/>
            <p:cNvSpPr>
              <a:spLocks noChangeArrowheads="1"/>
            </p:cNvSpPr>
            <p:nvPr/>
          </p:nvSpPr>
          <p:spPr bwMode="auto">
            <a:xfrm>
              <a:off x="1876" y="2422"/>
              <a:ext cx="144" cy="108"/>
            </a:xfrm>
            <a:prstGeom prst="rect">
              <a:avLst/>
            </a:prstGeom>
            <a:noFill/>
            <a:ln w="9525">
              <a:noFill/>
              <a:miter lim="800000"/>
              <a:headEnd/>
              <a:tailEnd/>
            </a:ln>
          </p:spPr>
          <p:txBody>
            <a:bodyPr wrap="none" lIns="0" tIns="0" rIns="0" bIns="0">
              <a:spAutoFit/>
            </a:bodyPr>
            <a:lstStyle/>
            <a:p>
              <a:r>
                <a:rPr lang="en-US" sz="1000">
                  <a:solidFill>
                    <a:srgbClr val="000000"/>
                  </a:solidFill>
                </a:rPr>
                <a:t>ES</a:t>
              </a:r>
              <a:endParaRPr lang="en-US"/>
            </a:p>
          </p:txBody>
        </p:sp>
        <p:sp>
          <p:nvSpPr>
            <p:cNvPr id="42124" name="Freeform 143"/>
            <p:cNvSpPr>
              <a:spLocks noEditPoints="1"/>
            </p:cNvSpPr>
            <p:nvPr/>
          </p:nvSpPr>
          <p:spPr bwMode="auto">
            <a:xfrm>
              <a:off x="3455" y="2415"/>
              <a:ext cx="283" cy="306"/>
            </a:xfrm>
            <a:custGeom>
              <a:avLst/>
              <a:gdLst>
                <a:gd name="T0" fmla="*/ 0 w 1008"/>
                <a:gd name="T1" fmla="*/ 10 h 1088"/>
                <a:gd name="T2" fmla="*/ 1 w 1008"/>
                <a:gd name="T3" fmla="*/ 7 h 1088"/>
                <a:gd name="T4" fmla="*/ 3 w 1008"/>
                <a:gd name="T5" fmla="*/ 4 h 1088"/>
                <a:gd name="T6" fmla="*/ 5 w 1008"/>
                <a:gd name="T7" fmla="*/ 2 h 1088"/>
                <a:gd name="T8" fmla="*/ 9 w 1008"/>
                <a:gd name="T9" fmla="*/ 0 h 1088"/>
                <a:gd name="T10" fmla="*/ 11 w 1008"/>
                <a:gd name="T11" fmla="*/ 0 h 1088"/>
                <a:gd name="T12" fmla="*/ 15 w 1008"/>
                <a:gd name="T13" fmla="*/ 1 h 1088"/>
                <a:gd name="T14" fmla="*/ 17 w 1008"/>
                <a:gd name="T15" fmla="*/ 2 h 1088"/>
                <a:gd name="T16" fmla="*/ 20 w 1008"/>
                <a:gd name="T17" fmla="*/ 5 h 1088"/>
                <a:gd name="T18" fmla="*/ 21 w 1008"/>
                <a:gd name="T19" fmla="*/ 7 h 1088"/>
                <a:gd name="T20" fmla="*/ 22 w 1008"/>
                <a:gd name="T21" fmla="*/ 12 h 1088"/>
                <a:gd name="T22" fmla="*/ 22 w 1008"/>
                <a:gd name="T23" fmla="*/ 15 h 1088"/>
                <a:gd name="T24" fmla="*/ 20 w 1008"/>
                <a:gd name="T25" fmla="*/ 19 h 1088"/>
                <a:gd name="T26" fmla="*/ 19 w 1008"/>
                <a:gd name="T27" fmla="*/ 21 h 1088"/>
                <a:gd name="T28" fmla="*/ 15 w 1008"/>
                <a:gd name="T29" fmla="*/ 23 h 1088"/>
                <a:gd name="T30" fmla="*/ 13 w 1008"/>
                <a:gd name="T31" fmla="*/ 24 h 1088"/>
                <a:gd name="T32" fmla="*/ 9 w 1008"/>
                <a:gd name="T33" fmla="*/ 24 h 1088"/>
                <a:gd name="T34" fmla="*/ 7 w 1008"/>
                <a:gd name="T35" fmla="*/ 23 h 1088"/>
                <a:gd name="T36" fmla="*/ 3 w 1008"/>
                <a:gd name="T37" fmla="*/ 21 h 1088"/>
                <a:gd name="T38" fmla="*/ 2 w 1008"/>
                <a:gd name="T39" fmla="*/ 19 h 1088"/>
                <a:gd name="T40" fmla="*/ 0 w 1008"/>
                <a:gd name="T41" fmla="*/ 15 h 1088"/>
                <a:gd name="T42" fmla="*/ 1 w 1008"/>
                <a:gd name="T43" fmla="*/ 14 h 1088"/>
                <a:gd name="T44" fmla="*/ 1 w 1008"/>
                <a:gd name="T45" fmla="*/ 17 h 1088"/>
                <a:gd name="T46" fmla="*/ 4 w 1008"/>
                <a:gd name="T47" fmla="*/ 21 h 1088"/>
                <a:gd name="T48" fmla="*/ 5 w 1008"/>
                <a:gd name="T49" fmla="*/ 22 h 1088"/>
                <a:gd name="T50" fmla="*/ 9 w 1008"/>
                <a:gd name="T51" fmla="*/ 24 h 1088"/>
                <a:gd name="T52" fmla="*/ 11 w 1008"/>
                <a:gd name="T53" fmla="*/ 24 h 1088"/>
                <a:gd name="T54" fmla="*/ 15 w 1008"/>
                <a:gd name="T55" fmla="*/ 23 h 1088"/>
                <a:gd name="T56" fmla="*/ 17 w 1008"/>
                <a:gd name="T57" fmla="*/ 22 h 1088"/>
                <a:gd name="T58" fmla="*/ 20 w 1008"/>
                <a:gd name="T59" fmla="*/ 19 h 1088"/>
                <a:gd name="T60" fmla="*/ 21 w 1008"/>
                <a:gd name="T61" fmla="*/ 17 h 1088"/>
                <a:gd name="T62" fmla="*/ 22 w 1008"/>
                <a:gd name="T63" fmla="*/ 12 h 1088"/>
                <a:gd name="T64" fmla="*/ 22 w 1008"/>
                <a:gd name="T65" fmla="*/ 10 h 1088"/>
                <a:gd name="T66" fmla="*/ 20 w 1008"/>
                <a:gd name="T67" fmla="*/ 6 h 1088"/>
                <a:gd name="T68" fmla="*/ 19 w 1008"/>
                <a:gd name="T69" fmla="*/ 4 h 1088"/>
                <a:gd name="T70" fmla="*/ 15 w 1008"/>
                <a:gd name="T71" fmla="*/ 1 h 1088"/>
                <a:gd name="T72" fmla="*/ 13 w 1008"/>
                <a:gd name="T73" fmla="*/ 1 h 1088"/>
                <a:gd name="T74" fmla="*/ 9 w 1008"/>
                <a:gd name="T75" fmla="*/ 1 h 1088"/>
                <a:gd name="T76" fmla="*/ 7 w 1008"/>
                <a:gd name="T77" fmla="*/ 1 h 1088"/>
                <a:gd name="T78" fmla="*/ 4 w 1008"/>
                <a:gd name="T79" fmla="*/ 4 h 1088"/>
                <a:gd name="T80" fmla="*/ 2 w 1008"/>
                <a:gd name="T81" fmla="*/ 6 h 1088"/>
                <a:gd name="T82" fmla="*/ 1 w 1008"/>
                <a:gd name="T83" fmla="*/ 10 h 1088"/>
                <a:gd name="T84" fmla="*/ 0 w 1008"/>
                <a:gd name="T85" fmla="*/ 12 h 108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8"/>
                <a:gd name="T130" fmla="*/ 0 h 1088"/>
                <a:gd name="T131" fmla="*/ 1008 w 1008"/>
                <a:gd name="T132" fmla="*/ 1088 h 108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8" h="1088">
                  <a:moveTo>
                    <a:pt x="0" y="545"/>
                  </a:moveTo>
                  <a:cubicBezTo>
                    <a:pt x="0" y="545"/>
                    <a:pt x="0" y="544"/>
                    <a:pt x="0" y="544"/>
                  </a:cubicBezTo>
                  <a:lnTo>
                    <a:pt x="10" y="436"/>
                  </a:lnTo>
                  <a:cubicBezTo>
                    <a:pt x="11" y="435"/>
                    <a:pt x="11" y="435"/>
                    <a:pt x="11" y="434"/>
                  </a:cubicBezTo>
                  <a:lnTo>
                    <a:pt x="40" y="333"/>
                  </a:lnTo>
                  <a:cubicBezTo>
                    <a:pt x="40" y="333"/>
                    <a:pt x="40" y="332"/>
                    <a:pt x="40" y="332"/>
                  </a:cubicBezTo>
                  <a:lnTo>
                    <a:pt x="86" y="241"/>
                  </a:lnTo>
                  <a:cubicBezTo>
                    <a:pt x="87" y="240"/>
                    <a:pt x="87" y="240"/>
                    <a:pt x="87" y="240"/>
                  </a:cubicBezTo>
                  <a:lnTo>
                    <a:pt x="148" y="161"/>
                  </a:lnTo>
                  <a:cubicBezTo>
                    <a:pt x="148" y="160"/>
                    <a:pt x="149" y="160"/>
                    <a:pt x="149" y="159"/>
                  </a:cubicBezTo>
                  <a:lnTo>
                    <a:pt x="222" y="94"/>
                  </a:lnTo>
                  <a:cubicBezTo>
                    <a:pt x="223" y="94"/>
                    <a:pt x="223" y="94"/>
                    <a:pt x="223" y="94"/>
                  </a:cubicBezTo>
                  <a:lnTo>
                    <a:pt x="307" y="44"/>
                  </a:lnTo>
                  <a:cubicBezTo>
                    <a:pt x="308" y="43"/>
                    <a:pt x="308" y="43"/>
                    <a:pt x="309" y="43"/>
                  </a:cubicBezTo>
                  <a:lnTo>
                    <a:pt x="402" y="12"/>
                  </a:lnTo>
                  <a:cubicBezTo>
                    <a:pt x="402" y="12"/>
                    <a:pt x="403" y="12"/>
                    <a:pt x="404" y="12"/>
                  </a:cubicBezTo>
                  <a:lnTo>
                    <a:pt x="504" y="1"/>
                  </a:lnTo>
                  <a:cubicBezTo>
                    <a:pt x="504" y="0"/>
                    <a:pt x="505" y="0"/>
                    <a:pt x="505" y="1"/>
                  </a:cubicBezTo>
                  <a:lnTo>
                    <a:pt x="605" y="12"/>
                  </a:lnTo>
                  <a:cubicBezTo>
                    <a:pt x="606" y="12"/>
                    <a:pt x="606" y="12"/>
                    <a:pt x="607" y="12"/>
                  </a:cubicBezTo>
                  <a:lnTo>
                    <a:pt x="700" y="43"/>
                  </a:lnTo>
                  <a:cubicBezTo>
                    <a:pt x="701" y="43"/>
                    <a:pt x="701" y="43"/>
                    <a:pt x="702" y="44"/>
                  </a:cubicBezTo>
                  <a:lnTo>
                    <a:pt x="786" y="94"/>
                  </a:lnTo>
                  <a:cubicBezTo>
                    <a:pt x="786" y="94"/>
                    <a:pt x="786" y="94"/>
                    <a:pt x="787" y="94"/>
                  </a:cubicBezTo>
                  <a:lnTo>
                    <a:pt x="861" y="159"/>
                  </a:lnTo>
                  <a:cubicBezTo>
                    <a:pt x="861" y="160"/>
                    <a:pt x="862" y="160"/>
                    <a:pt x="862" y="161"/>
                  </a:cubicBezTo>
                  <a:lnTo>
                    <a:pt x="922" y="240"/>
                  </a:lnTo>
                  <a:cubicBezTo>
                    <a:pt x="922" y="240"/>
                    <a:pt x="922" y="240"/>
                    <a:pt x="923" y="241"/>
                  </a:cubicBezTo>
                  <a:lnTo>
                    <a:pt x="969" y="332"/>
                  </a:lnTo>
                  <a:cubicBezTo>
                    <a:pt x="969" y="332"/>
                    <a:pt x="969" y="333"/>
                    <a:pt x="969" y="333"/>
                  </a:cubicBezTo>
                  <a:lnTo>
                    <a:pt x="998" y="434"/>
                  </a:lnTo>
                  <a:cubicBezTo>
                    <a:pt x="998" y="435"/>
                    <a:pt x="998" y="435"/>
                    <a:pt x="998" y="436"/>
                  </a:cubicBezTo>
                  <a:lnTo>
                    <a:pt x="1008" y="544"/>
                  </a:lnTo>
                  <a:cubicBezTo>
                    <a:pt x="1008" y="544"/>
                    <a:pt x="1008" y="545"/>
                    <a:pt x="1008" y="545"/>
                  </a:cubicBezTo>
                  <a:lnTo>
                    <a:pt x="998" y="653"/>
                  </a:lnTo>
                  <a:cubicBezTo>
                    <a:pt x="998" y="654"/>
                    <a:pt x="998" y="654"/>
                    <a:pt x="998" y="655"/>
                  </a:cubicBezTo>
                  <a:lnTo>
                    <a:pt x="969" y="756"/>
                  </a:lnTo>
                  <a:cubicBezTo>
                    <a:pt x="969" y="756"/>
                    <a:pt x="969" y="757"/>
                    <a:pt x="969" y="757"/>
                  </a:cubicBezTo>
                  <a:lnTo>
                    <a:pt x="923" y="848"/>
                  </a:lnTo>
                  <a:cubicBezTo>
                    <a:pt x="922" y="849"/>
                    <a:pt x="922" y="849"/>
                    <a:pt x="922" y="849"/>
                  </a:cubicBezTo>
                  <a:lnTo>
                    <a:pt x="862" y="928"/>
                  </a:lnTo>
                  <a:cubicBezTo>
                    <a:pt x="862" y="929"/>
                    <a:pt x="861" y="929"/>
                    <a:pt x="861" y="929"/>
                  </a:cubicBezTo>
                  <a:lnTo>
                    <a:pt x="787" y="994"/>
                  </a:lnTo>
                  <a:cubicBezTo>
                    <a:pt x="786" y="995"/>
                    <a:pt x="786" y="995"/>
                    <a:pt x="786" y="995"/>
                  </a:cubicBezTo>
                  <a:lnTo>
                    <a:pt x="702" y="1045"/>
                  </a:lnTo>
                  <a:cubicBezTo>
                    <a:pt x="701" y="1046"/>
                    <a:pt x="701" y="1046"/>
                    <a:pt x="700" y="1046"/>
                  </a:cubicBezTo>
                  <a:lnTo>
                    <a:pt x="607" y="1077"/>
                  </a:lnTo>
                  <a:cubicBezTo>
                    <a:pt x="606" y="1077"/>
                    <a:pt x="606" y="1077"/>
                    <a:pt x="605" y="1077"/>
                  </a:cubicBezTo>
                  <a:lnTo>
                    <a:pt x="505" y="1088"/>
                  </a:lnTo>
                  <a:cubicBezTo>
                    <a:pt x="505" y="1088"/>
                    <a:pt x="504" y="1088"/>
                    <a:pt x="504" y="1088"/>
                  </a:cubicBezTo>
                  <a:lnTo>
                    <a:pt x="404" y="1077"/>
                  </a:lnTo>
                  <a:cubicBezTo>
                    <a:pt x="403" y="1077"/>
                    <a:pt x="402" y="1077"/>
                    <a:pt x="402" y="1077"/>
                  </a:cubicBezTo>
                  <a:lnTo>
                    <a:pt x="309" y="1046"/>
                  </a:lnTo>
                  <a:cubicBezTo>
                    <a:pt x="308" y="1046"/>
                    <a:pt x="308" y="1046"/>
                    <a:pt x="307" y="1045"/>
                  </a:cubicBezTo>
                  <a:lnTo>
                    <a:pt x="223" y="995"/>
                  </a:lnTo>
                  <a:cubicBezTo>
                    <a:pt x="223" y="995"/>
                    <a:pt x="223" y="995"/>
                    <a:pt x="222" y="994"/>
                  </a:cubicBezTo>
                  <a:lnTo>
                    <a:pt x="149" y="929"/>
                  </a:lnTo>
                  <a:cubicBezTo>
                    <a:pt x="149" y="929"/>
                    <a:pt x="148" y="929"/>
                    <a:pt x="148" y="928"/>
                  </a:cubicBezTo>
                  <a:lnTo>
                    <a:pt x="87" y="849"/>
                  </a:lnTo>
                  <a:cubicBezTo>
                    <a:pt x="87" y="849"/>
                    <a:pt x="87" y="849"/>
                    <a:pt x="86" y="848"/>
                  </a:cubicBezTo>
                  <a:lnTo>
                    <a:pt x="40" y="757"/>
                  </a:lnTo>
                  <a:cubicBezTo>
                    <a:pt x="40" y="757"/>
                    <a:pt x="40" y="756"/>
                    <a:pt x="40" y="756"/>
                  </a:cubicBezTo>
                  <a:lnTo>
                    <a:pt x="11" y="655"/>
                  </a:lnTo>
                  <a:cubicBezTo>
                    <a:pt x="11" y="654"/>
                    <a:pt x="11" y="654"/>
                    <a:pt x="10" y="653"/>
                  </a:cubicBezTo>
                  <a:lnTo>
                    <a:pt x="0" y="545"/>
                  </a:lnTo>
                  <a:close/>
                  <a:moveTo>
                    <a:pt x="26" y="652"/>
                  </a:moveTo>
                  <a:lnTo>
                    <a:pt x="26" y="650"/>
                  </a:lnTo>
                  <a:lnTo>
                    <a:pt x="55" y="751"/>
                  </a:lnTo>
                  <a:lnTo>
                    <a:pt x="55" y="750"/>
                  </a:lnTo>
                  <a:lnTo>
                    <a:pt x="101" y="841"/>
                  </a:lnTo>
                  <a:lnTo>
                    <a:pt x="100" y="840"/>
                  </a:lnTo>
                  <a:lnTo>
                    <a:pt x="161" y="919"/>
                  </a:lnTo>
                  <a:lnTo>
                    <a:pt x="160" y="917"/>
                  </a:lnTo>
                  <a:lnTo>
                    <a:pt x="233" y="982"/>
                  </a:lnTo>
                  <a:lnTo>
                    <a:pt x="232" y="982"/>
                  </a:lnTo>
                  <a:lnTo>
                    <a:pt x="316" y="1032"/>
                  </a:lnTo>
                  <a:lnTo>
                    <a:pt x="314" y="1031"/>
                  </a:lnTo>
                  <a:lnTo>
                    <a:pt x="407" y="1062"/>
                  </a:lnTo>
                  <a:lnTo>
                    <a:pt x="405" y="1062"/>
                  </a:lnTo>
                  <a:lnTo>
                    <a:pt x="505" y="1073"/>
                  </a:lnTo>
                  <a:lnTo>
                    <a:pt x="504" y="1073"/>
                  </a:lnTo>
                  <a:lnTo>
                    <a:pt x="604" y="1062"/>
                  </a:lnTo>
                  <a:lnTo>
                    <a:pt x="602" y="1062"/>
                  </a:lnTo>
                  <a:lnTo>
                    <a:pt x="695" y="1031"/>
                  </a:lnTo>
                  <a:lnTo>
                    <a:pt x="693" y="1032"/>
                  </a:lnTo>
                  <a:lnTo>
                    <a:pt x="777" y="982"/>
                  </a:lnTo>
                  <a:lnTo>
                    <a:pt x="776" y="982"/>
                  </a:lnTo>
                  <a:lnTo>
                    <a:pt x="850" y="917"/>
                  </a:lnTo>
                  <a:lnTo>
                    <a:pt x="849" y="919"/>
                  </a:lnTo>
                  <a:lnTo>
                    <a:pt x="909" y="840"/>
                  </a:lnTo>
                  <a:lnTo>
                    <a:pt x="908" y="841"/>
                  </a:lnTo>
                  <a:lnTo>
                    <a:pt x="954" y="750"/>
                  </a:lnTo>
                  <a:lnTo>
                    <a:pt x="954" y="751"/>
                  </a:lnTo>
                  <a:lnTo>
                    <a:pt x="983" y="650"/>
                  </a:lnTo>
                  <a:lnTo>
                    <a:pt x="982" y="652"/>
                  </a:lnTo>
                  <a:lnTo>
                    <a:pt x="992" y="544"/>
                  </a:lnTo>
                  <a:lnTo>
                    <a:pt x="992" y="545"/>
                  </a:lnTo>
                  <a:lnTo>
                    <a:pt x="982" y="437"/>
                  </a:lnTo>
                  <a:lnTo>
                    <a:pt x="983" y="439"/>
                  </a:lnTo>
                  <a:lnTo>
                    <a:pt x="954" y="338"/>
                  </a:lnTo>
                  <a:lnTo>
                    <a:pt x="954" y="339"/>
                  </a:lnTo>
                  <a:lnTo>
                    <a:pt x="908" y="248"/>
                  </a:lnTo>
                  <a:lnTo>
                    <a:pt x="909" y="249"/>
                  </a:lnTo>
                  <a:lnTo>
                    <a:pt x="849" y="170"/>
                  </a:lnTo>
                  <a:lnTo>
                    <a:pt x="850" y="171"/>
                  </a:lnTo>
                  <a:lnTo>
                    <a:pt x="776" y="106"/>
                  </a:lnTo>
                  <a:lnTo>
                    <a:pt x="777" y="107"/>
                  </a:lnTo>
                  <a:lnTo>
                    <a:pt x="693" y="57"/>
                  </a:lnTo>
                  <a:lnTo>
                    <a:pt x="695" y="58"/>
                  </a:lnTo>
                  <a:lnTo>
                    <a:pt x="602" y="27"/>
                  </a:lnTo>
                  <a:lnTo>
                    <a:pt x="604" y="27"/>
                  </a:lnTo>
                  <a:lnTo>
                    <a:pt x="504" y="16"/>
                  </a:lnTo>
                  <a:lnTo>
                    <a:pt x="505" y="16"/>
                  </a:lnTo>
                  <a:lnTo>
                    <a:pt x="405" y="27"/>
                  </a:lnTo>
                  <a:lnTo>
                    <a:pt x="407" y="27"/>
                  </a:lnTo>
                  <a:lnTo>
                    <a:pt x="314" y="58"/>
                  </a:lnTo>
                  <a:lnTo>
                    <a:pt x="316" y="57"/>
                  </a:lnTo>
                  <a:lnTo>
                    <a:pt x="232" y="107"/>
                  </a:lnTo>
                  <a:lnTo>
                    <a:pt x="233" y="106"/>
                  </a:lnTo>
                  <a:lnTo>
                    <a:pt x="160" y="171"/>
                  </a:lnTo>
                  <a:lnTo>
                    <a:pt x="161" y="170"/>
                  </a:lnTo>
                  <a:lnTo>
                    <a:pt x="100" y="249"/>
                  </a:lnTo>
                  <a:lnTo>
                    <a:pt x="101" y="248"/>
                  </a:lnTo>
                  <a:lnTo>
                    <a:pt x="55" y="339"/>
                  </a:lnTo>
                  <a:lnTo>
                    <a:pt x="55" y="338"/>
                  </a:lnTo>
                  <a:lnTo>
                    <a:pt x="26" y="439"/>
                  </a:lnTo>
                  <a:lnTo>
                    <a:pt x="26" y="437"/>
                  </a:lnTo>
                  <a:lnTo>
                    <a:pt x="16" y="545"/>
                  </a:lnTo>
                  <a:lnTo>
                    <a:pt x="16" y="544"/>
                  </a:lnTo>
                  <a:lnTo>
                    <a:pt x="26" y="652"/>
                  </a:lnTo>
                  <a:close/>
                </a:path>
              </a:pathLst>
            </a:custGeom>
            <a:solidFill>
              <a:srgbClr val="000000"/>
            </a:solidFill>
            <a:ln w="0">
              <a:solidFill>
                <a:srgbClr val="000000"/>
              </a:solidFill>
              <a:round/>
              <a:headEnd/>
              <a:tailEnd/>
            </a:ln>
          </p:spPr>
          <p:txBody>
            <a:bodyPr/>
            <a:lstStyle/>
            <a:p>
              <a:endParaRPr lang="en-US"/>
            </a:p>
          </p:txBody>
        </p:sp>
        <p:sp>
          <p:nvSpPr>
            <p:cNvPr id="42125" name="Rectangle 146"/>
            <p:cNvSpPr>
              <a:spLocks noChangeArrowheads="1"/>
            </p:cNvSpPr>
            <p:nvPr/>
          </p:nvSpPr>
          <p:spPr bwMode="auto">
            <a:xfrm>
              <a:off x="3567" y="2523"/>
              <a:ext cx="104" cy="112"/>
            </a:xfrm>
            <a:prstGeom prst="rect">
              <a:avLst/>
            </a:prstGeom>
            <a:solidFill>
              <a:srgbClr val="FFFFCC"/>
            </a:solidFill>
            <a:ln w="9525">
              <a:noFill/>
              <a:miter lim="800000"/>
              <a:headEnd/>
              <a:tailEnd/>
            </a:ln>
          </p:spPr>
          <p:txBody>
            <a:bodyPr/>
            <a:lstStyle/>
            <a:p>
              <a:endParaRPr lang="en-US"/>
            </a:p>
          </p:txBody>
        </p:sp>
        <p:sp>
          <p:nvSpPr>
            <p:cNvPr id="42126" name="Rectangle 147"/>
            <p:cNvSpPr>
              <a:spLocks noChangeArrowheads="1"/>
            </p:cNvSpPr>
            <p:nvPr/>
          </p:nvSpPr>
          <p:spPr bwMode="auto">
            <a:xfrm>
              <a:off x="3569" y="2532"/>
              <a:ext cx="99" cy="108"/>
            </a:xfrm>
            <a:prstGeom prst="rect">
              <a:avLst/>
            </a:prstGeom>
            <a:noFill/>
            <a:ln w="9525">
              <a:noFill/>
              <a:miter lim="800000"/>
              <a:headEnd/>
              <a:tailEnd/>
            </a:ln>
          </p:spPr>
          <p:txBody>
            <a:bodyPr wrap="none" lIns="0" tIns="0" rIns="0" bIns="0">
              <a:spAutoFit/>
            </a:bodyPr>
            <a:lstStyle/>
            <a:p>
              <a:r>
                <a:rPr lang="en-US" sz="1000">
                  <a:solidFill>
                    <a:srgbClr val="000000"/>
                  </a:solidFill>
                </a:rPr>
                <a:t>G</a:t>
              </a:r>
              <a:endParaRPr lang="en-US"/>
            </a:p>
          </p:txBody>
        </p:sp>
        <p:sp>
          <p:nvSpPr>
            <p:cNvPr id="42127" name="Freeform 148"/>
            <p:cNvSpPr>
              <a:spLocks noEditPoints="1"/>
            </p:cNvSpPr>
            <p:nvPr/>
          </p:nvSpPr>
          <p:spPr bwMode="auto">
            <a:xfrm>
              <a:off x="2521" y="2088"/>
              <a:ext cx="118" cy="280"/>
            </a:xfrm>
            <a:custGeom>
              <a:avLst/>
              <a:gdLst>
                <a:gd name="T0" fmla="*/ 13 w 118"/>
                <a:gd name="T1" fmla="*/ 233 h 280"/>
                <a:gd name="T2" fmla="*/ 83 w 118"/>
                <a:gd name="T3" fmla="*/ 39 h 280"/>
                <a:gd name="T4" fmla="*/ 104 w 118"/>
                <a:gd name="T5" fmla="*/ 47 h 280"/>
                <a:gd name="T6" fmla="*/ 35 w 118"/>
                <a:gd name="T7" fmla="*/ 241 h 280"/>
                <a:gd name="T8" fmla="*/ 13 w 118"/>
                <a:gd name="T9" fmla="*/ 233 h 280"/>
                <a:gd name="T10" fmla="*/ 24 w 118"/>
                <a:gd name="T11" fmla="*/ 237 h 280"/>
                <a:gd name="T12" fmla="*/ 64 w 118"/>
                <a:gd name="T13" fmla="*/ 227 h 280"/>
                <a:gd name="T14" fmla="*/ 9 w 118"/>
                <a:gd name="T15" fmla="*/ 280 h 280"/>
                <a:gd name="T16" fmla="*/ 0 w 118"/>
                <a:gd name="T17" fmla="*/ 205 h 280"/>
                <a:gd name="T18" fmla="*/ 24 w 118"/>
                <a:gd name="T19" fmla="*/ 237 h 280"/>
                <a:gd name="T20" fmla="*/ 94 w 118"/>
                <a:gd name="T21" fmla="*/ 43 h 280"/>
                <a:gd name="T22" fmla="*/ 55 w 118"/>
                <a:gd name="T23" fmla="*/ 53 h 280"/>
                <a:gd name="T24" fmla="*/ 109 w 118"/>
                <a:gd name="T25" fmla="*/ 0 h 280"/>
                <a:gd name="T26" fmla="*/ 118 w 118"/>
                <a:gd name="T27" fmla="*/ 76 h 280"/>
                <a:gd name="T28" fmla="*/ 94 w 118"/>
                <a:gd name="T29" fmla="*/ 43 h 28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8"/>
                <a:gd name="T46" fmla="*/ 0 h 280"/>
                <a:gd name="T47" fmla="*/ 118 w 118"/>
                <a:gd name="T48" fmla="*/ 280 h 28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8" h="280">
                  <a:moveTo>
                    <a:pt x="13" y="233"/>
                  </a:moveTo>
                  <a:lnTo>
                    <a:pt x="83" y="39"/>
                  </a:lnTo>
                  <a:lnTo>
                    <a:pt x="104" y="47"/>
                  </a:lnTo>
                  <a:lnTo>
                    <a:pt x="35" y="241"/>
                  </a:lnTo>
                  <a:lnTo>
                    <a:pt x="13" y="233"/>
                  </a:lnTo>
                  <a:close/>
                  <a:moveTo>
                    <a:pt x="24" y="237"/>
                  </a:moveTo>
                  <a:lnTo>
                    <a:pt x="64" y="227"/>
                  </a:lnTo>
                  <a:lnTo>
                    <a:pt x="9" y="280"/>
                  </a:lnTo>
                  <a:lnTo>
                    <a:pt x="0" y="205"/>
                  </a:lnTo>
                  <a:lnTo>
                    <a:pt x="24" y="237"/>
                  </a:lnTo>
                  <a:close/>
                  <a:moveTo>
                    <a:pt x="94" y="43"/>
                  </a:moveTo>
                  <a:lnTo>
                    <a:pt x="55" y="53"/>
                  </a:lnTo>
                  <a:lnTo>
                    <a:pt x="109" y="0"/>
                  </a:lnTo>
                  <a:lnTo>
                    <a:pt x="118" y="76"/>
                  </a:lnTo>
                  <a:lnTo>
                    <a:pt x="94" y="43"/>
                  </a:lnTo>
                  <a:close/>
                </a:path>
              </a:pathLst>
            </a:custGeom>
            <a:solidFill>
              <a:srgbClr val="FFFF00"/>
            </a:solidFill>
            <a:ln w="0">
              <a:solidFill>
                <a:srgbClr val="FFFF00"/>
              </a:solidFill>
              <a:round/>
              <a:headEnd/>
              <a:tailEnd/>
            </a:ln>
          </p:spPr>
          <p:txBody>
            <a:bodyPr/>
            <a:lstStyle/>
            <a:p>
              <a:endParaRPr lang="en-US"/>
            </a:p>
          </p:txBody>
        </p:sp>
        <p:sp>
          <p:nvSpPr>
            <p:cNvPr id="42128" name="Freeform 149"/>
            <p:cNvSpPr>
              <a:spLocks noEditPoints="1"/>
            </p:cNvSpPr>
            <p:nvPr/>
          </p:nvSpPr>
          <p:spPr bwMode="auto">
            <a:xfrm>
              <a:off x="1958" y="1620"/>
              <a:ext cx="101" cy="170"/>
            </a:xfrm>
            <a:custGeom>
              <a:avLst/>
              <a:gdLst>
                <a:gd name="T0" fmla="*/ 68 w 101"/>
                <a:gd name="T1" fmla="*/ 137 h 170"/>
                <a:gd name="T2" fmla="*/ 13 w 101"/>
                <a:gd name="T3" fmla="*/ 45 h 170"/>
                <a:gd name="T4" fmla="*/ 33 w 101"/>
                <a:gd name="T5" fmla="*/ 33 h 170"/>
                <a:gd name="T6" fmla="*/ 88 w 101"/>
                <a:gd name="T7" fmla="*/ 125 h 170"/>
                <a:gd name="T8" fmla="*/ 68 w 101"/>
                <a:gd name="T9" fmla="*/ 137 h 170"/>
                <a:gd name="T10" fmla="*/ 78 w 101"/>
                <a:gd name="T11" fmla="*/ 131 h 170"/>
                <a:gd name="T12" fmla="*/ 95 w 101"/>
                <a:gd name="T13" fmla="*/ 94 h 170"/>
                <a:gd name="T14" fmla="*/ 101 w 101"/>
                <a:gd name="T15" fmla="*/ 170 h 170"/>
                <a:gd name="T16" fmla="*/ 37 w 101"/>
                <a:gd name="T17" fmla="*/ 129 h 170"/>
                <a:gd name="T18" fmla="*/ 78 w 101"/>
                <a:gd name="T19" fmla="*/ 131 h 170"/>
                <a:gd name="T20" fmla="*/ 23 w 101"/>
                <a:gd name="T21" fmla="*/ 39 h 170"/>
                <a:gd name="T22" fmla="*/ 6 w 101"/>
                <a:gd name="T23" fmla="*/ 76 h 170"/>
                <a:gd name="T24" fmla="*/ 0 w 101"/>
                <a:gd name="T25" fmla="*/ 0 h 170"/>
                <a:gd name="T26" fmla="*/ 64 w 101"/>
                <a:gd name="T27" fmla="*/ 41 h 170"/>
                <a:gd name="T28" fmla="*/ 23 w 101"/>
                <a:gd name="T29" fmla="*/ 39 h 17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1"/>
                <a:gd name="T46" fmla="*/ 0 h 170"/>
                <a:gd name="T47" fmla="*/ 101 w 101"/>
                <a:gd name="T48" fmla="*/ 170 h 17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1" h="170">
                  <a:moveTo>
                    <a:pt x="68" y="137"/>
                  </a:moveTo>
                  <a:lnTo>
                    <a:pt x="13" y="45"/>
                  </a:lnTo>
                  <a:lnTo>
                    <a:pt x="33" y="33"/>
                  </a:lnTo>
                  <a:lnTo>
                    <a:pt x="88" y="125"/>
                  </a:lnTo>
                  <a:lnTo>
                    <a:pt x="68" y="137"/>
                  </a:lnTo>
                  <a:close/>
                  <a:moveTo>
                    <a:pt x="78" y="131"/>
                  </a:moveTo>
                  <a:lnTo>
                    <a:pt x="95" y="94"/>
                  </a:lnTo>
                  <a:lnTo>
                    <a:pt x="101" y="170"/>
                  </a:lnTo>
                  <a:lnTo>
                    <a:pt x="37" y="129"/>
                  </a:lnTo>
                  <a:lnTo>
                    <a:pt x="78" y="131"/>
                  </a:lnTo>
                  <a:close/>
                  <a:moveTo>
                    <a:pt x="23" y="39"/>
                  </a:moveTo>
                  <a:lnTo>
                    <a:pt x="6" y="76"/>
                  </a:lnTo>
                  <a:lnTo>
                    <a:pt x="0" y="0"/>
                  </a:lnTo>
                  <a:lnTo>
                    <a:pt x="64" y="41"/>
                  </a:lnTo>
                  <a:lnTo>
                    <a:pt x="23" y="39"/>
                  </a:lnTo>
                  <a:close/>
                </a:path>
              </a:pathLst>
            </a:custGeom>
            <a:solidFill>
              <a:srgbClr val="CC00CC"/>
            </a:solidFill>
            <a:ln w="0">
              <a:solidFill>
                <a:srgbClr val="CC00CC"/>
              </a:solidFill>
              <a:round/>
              <a:headEnd/>
              <a:tailEnd/>
            </a:ln>
          </p:spPr>
          <p:txBody>
            <a:bodyPr/>
            <a:lstStyle/>
            <a:p>
              <a:endParaRPr lang="en-US"/>
            </a:p>
          </p:txBody>
        </p:sp>
        <p:sp>
          <p:nvSpPr>
            <p:cNvPr id="42129" name="Freeform 150"/>
            <p:cNvSpPr>
              <a:spLocks noEditPoints="1"/>
            </p:cNvSpPr>
            <p:nvPr/>
          </p:nvSpPr>
          <p:spPr bwMode="auto">
            <a:xfrm>
              <a:off x="1958" y="2160"/>
              <a:ext cx="101" cy="136"/>
            </a:xfrm>
            <a:custGeom>
              <a:avLst/>
              <a:gdLst>
                <a:gd name="T0" fmla="*/ 18 w 101"/>
                <a:gd name="T1" fmla="*/ 93 h 136"/>
                <a:gd name="T2" fmla="*/ 66 w 101"/>
                <a:gd name="T3" fmla="*/ 30 h 136"/>
                <a:gd name="T4" fmla="*/ 84 w 101"/>
                <a:gd name="T5" fmla="*/ 44 h 136"/>
                <a:gd name="T6" fmla="*/ 36 w 101"/>
                <a:gd name="T7" fmla="*/ 107 h 136"/>
                <a:gd name="T8" fmla="*/ 18 w 101"/>
                <a:gd name="T9" fmla="*/ 93 h 136"/>
                <a:gd name="T10" fmla="*/ 27 w 101"/>
                <a:gd name="T11" fmla="*/ 100 h 136"/>
                <a:gd name="T12" fmla="*/ 68 w 101"/>
                <a:gd name="T13" fmla="*/ 102 h 136"/>
                <a:gd name="T14" fmla="*/ 0 w 101"/>
                <a:gd name="T15" fmla="*/ 136 h 136"/>
                <a:gd name="T16" fmla="*/ 13 w 101"/>
                <a:gd name="T17" fmla="*/ 62 h 136"/>
                <a:gd name="T18" fmla="*/ 27 w 101"/>
                <a:gd name="T19" fmla="*/ 100 h 136"/>
                <a:gd name="T20" fmla="*/ 75 w 101"/>
                <a:gd name="T21" fmla="*/ 37 h 136"/>
                <a:gd name="T22" fmla="*/ 34 w 101"/>
                <a:gd name="T23" fmla="*/ 35 h 136"/>
                <a:gd name="T24" fmla="*/ 101 w 101"/>
                <a:gd name="T25" fmla="*/ 0 h 136"/>
                <a:gd name="T26" fmla="*/ 88 w 101"/>
                <a:gd name="T27" fmla="*/ 75 h 136"/>
                <a:gd name="T28" fmla="*/ 75 w 101"/>
                <a:gd name="T29" fmla="*/ 37 h 1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1"/>
                <a:gd name="T46" fmla="*/ 0 h 136"/>
                <a:gd name="T47" fmla="*/ 101 w 101"/>
                <a:gd name="T48" fmla="*/ 136 h 1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1" h="136">
                  <a:moveTo>
                    <a:pt x="18" y="93"/>
                  </a:moveTo>
                  <a:lnTo>
                    <a:pt x="66" y="30"/>
                  </a:lnTo>
                  <a:lnTo>
                    <a:pt x="84" y="44"/>
                  </a:lnTo>
                  <a:lnTo>
                    <a:pt x="36" y="107"/>
                  </a:lnTo>
                  <a:lnTo>
                    <a:pt x="18" y="93"/>
                  </a:lnTo>
                  <a:close/>
                  <a:moveTo>
                    <a:pt x="27" y="100"/>
                  </a:moveTo>
                  <a:lnTo>
                    <a:pt x="68" y="102"/>
                  </a:lnTo>
                  <a:lnTo>
                    <a:pt x="0" y="136"/>
                  </a:lnTo>
                  <a:lnTo>
                    <a:pt x="13" y="62"/>
                  </a:lnTo>
                  <a:lnTo>
                    <a:pt x="27" y="100"/>
                  </a:lnTo>
                  <a:close/>
                  <a:moveTo>
                    <a:pt x="75" y="37"/>
                  </a:moveTo>
                  <a:lnTo>
                    <a:pt x="34" y="35"/>
                  </a:lnTo>
                  <a:lnTo>
                    <a:pt x="101" y="0"/>
                  </a:lnTo>
                  <a:lnTo>
                    <a:pt x="88" y="75"/>
                  </a:lnTo>
                  <a:lnTo>
                    <a:pt x="75" y="37"/>
                  </a:lnTo>
                  <a:close/>
                </a:path>
              </a:pathLst>
            </a:custGeom>
            <a:solidFill>
              <a:srgbClr val="CC00CC"/>
            </a:solidFill>
            <a:ln w="0">
              <a:solidFill>
                <a:srgbClr val="CC00CC"/>
              </a:solidFill>
              <a:round/>
              <a:headEnd/>
              <a:tailEnd/>
            </a:ln>
          </p:spPr>
          <p:txBody>
            <a:bodyPr/>
            <a:lstStyle/>
            <a:p>
              <a:endParaRPr lang="en-US"/>
            </a:p>
          </p:txBody>
        </p:sp>
        <p:sp>
          <p:nvSpPr>
            <p:cNvPr id="42130" name="Freeform 151"/>
            <p:cNvSpPr>
              <a:spLocks noEditPoints="1"/>
            </p:cNvSpPr>
            <p:nvPr/>
          </p:nvSpPr>
          <p:spPr bwMode="auto">
            <a:xfrm>
              <a:off x="1490" y="2459"/>
              <a:ext cx="197" cy="70"/>
            </a:xfrm>
            <a:custGeom>
              <a:avLst/>
              <a:gdLst>
                <a:gd name="T0" fmla="*/ 44 w 197"/>
                <a:gd name="T1" fmla="*/ 26 h 70"/>
                <a:gd name="T2" fmla="*/ 152 w 197"/>
                <a:gd name="T3" fmla="*/ 21 h 70"/>
                <a:gd name="T4" fmla="*/ 153 w 197"/>
                <a:gd name="T5" fmla="*/ 44 h 70"/>
                <a:gd name="T6" fmla="*/ 45 w 197"/>
                <a:gd name="T7" fmla="*/ 49 h 70"/>
                <a:gd name="T8" fmla="*/ 44 w 197"/>
                <a:gd name="T9" fmla="*/ 26 h 70"/>
                <a:gd name="T10" fmla="*/ 45 w 197"/>
                <a:gd name="T11" fmla="*/ 37 h 70"/>
                <a:gd name="T12" fmla="*/ 69 w 197"/>
                <a:gd name="T13" fmla="*/ 70 h 70"/>
                <a:gd name="T14" fmla="*/ 0 w 197"/>
                <a:gd name="T15" fmla="*/ 40 h 70"/>
                <a:gd name="T16" fmla="*/ 66 w 197"/>
                <a:gd name="T17" fmla="*/ 3 h 70"/>
                <a:gd name="T18" fmla="*/ 45 w 197"/>
                <a:gd name="T19" fmla="*/ 37 h 70"/>
                <a:gd name="T20" fmla="*/ 152 w 197"/>
                <a:gd name="T21" fmla="*/ 32 h 70"/>
                <a:gd name="T22" fmla="*/ 128 w 197"/>
                <a:gd name="T23" fmla="*/ 0 h 70"/>
                <a:gd name="T24" fmla="*/ 197 w 197"/>
                <a:gd name="T25" fmla="*/ 30 h 70"/>
                <a:gd name="T26" fmla="*/ 131 w 197"/>
                <a:gd name="T27" fmla="*/ 67 h 70"/>
                <a:gd name="T28" fmla="*/ 152 w 197"/>
                <a:gd name="T29" fmla="*/ 32 h 7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7"/>
                <a:gd name="T46" fmla="*/ 0 h 70"/>
                <a:gd name="T47" fmla="*/ 197 w 197"/>
                <a:gd name="T48" fmla="*/ 70 h 7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7" h="70">
                  <a:moveTo>
                    <a:pt x="44" y="26"/>
                  </a:moveTo>
                  <a:lnTo>
                    <a:pt x="152" y="21"/>
                  </a:lnTo>
                  <a:lnTo>
                    <a:pt x="153" y="44"/>
                  </a:lnTo>
                  <a:lnTo>
                    <a:pt x="45" y="49"/>
                  </a:lnTo>
                  <a:lnTo>
                    <a:pt x="44" y="26"/>
                  </a:lnTo>
                  <a:close/>
                  <a:moveTo>
                    <a:pt x="45" y="37"/>
                  </a:moveTo>
                  <a:lnTo>
                    <a:pt x="69" y="70"/>
                  </a:lnTo>
                  <a:lnTo>
                    <a:pt x="0" y="40"/>
                  </a:lnTo>
                  <a:lnTo>
                    <a:pt x="66" y="3"/>
                  </a:lnTo>
                  <a:lnTo>
                    <a:pt x="45" y="37"/>
                  </a:lnTo>
                  <a:close/>
                  <a:moveTo>
                    <a:pt x="152" y="32"/>
                  </a:moveTo>
                  <a:lnTo>
                    <a:pt x="128" y="0"/>
                  </a:lnTo>
                  <a:lnTo>
                    <a:pt x="197" y="30"/>
                  </a:lnTo>
                  <a:lnTo>
                    <a:pt x="131" y="67"/>
                  </a:lnTo>
                  <a:lnTo>
                    <a:pt x="152" y="32"/>
                  </a:lnTo>
                  <a:close/>
                </a:path>
              </a:pathLst>
            </a:custGeom>
            <a:solidFill>
              <a:srgbClr val="FFC000"/>
            </a:solidFill>
            <a:ln w="0">
              <a:solidFill>
                <a:srgbClr val="FFC000"/>
              </a:solidFill>
              <a:round/>
              <a:headEnd/>
              <a:tailEnd/>
            </a:ln>
          </p:spPr>
          <p:txBody>
            <a:bodyPr/>
            <a:lstStyle/>
            <a:p>
              <a:endParaRPr lang="en-US"/>
            </a:p>
          </p:txBody>
        </p:sp>
        <p:sp>
          <p:nvSpPr>
            <p:cNvPr id="42131" name="Freeform 152"/>
            <p:cNvSpPr>
              <a:spLocks noEditPoints="1"/>
            </p:cNvSpPr>
            <p:nvPr/>
          </p:nvSpPr>
          <p:spPr bwMode="auto">
            <a:xfrm>
              <a:off x="2732" y="1755"/>
              <a:ext cx="68" cy="135"/>
            </a:xfrm>
            <a:custGeom>
              <a:avLst/>
              <a:gdLst>
                <a:gd name="T0" fmla="*/ 10 w 68"/>
                <a:gd name="T1" fmla="*/ 90 h 135"/>
                <a:gd name="T2" fmla="*/ 38 w 68"/>
                <a:gd name="T3" fmla="*/ 36 h 135"/>
                <a:gd name="T4" fmla="*/ 58 w 68"/>
                <a:gd name="T5" fmla="*/ 46 h 135"/>
                <a:gd name="T6" fmla="*/ 31 w 68"/>
                <a:gd name="T7" fmla="*/ 100 h 135"/>
                <a:gd name="T8" fmla="*/ 10 w 68"/>
                <a:gd name="T9" fmla="*/ 90 h 135"/>
                <a:gd name="T10" fmla="*/ 21 w 68"/>
                <a:gd name="T11" fmla="*/ 95 h 135"/>
                <a:gd name="T12" fmla="*/ 61 w 68"/>
                <a:gd name="T13" fmla="*/ 90 h 135"/>
                <a:gd name="T14" fmla="*/ 0 w 68"/>
                <a:gd name="T15" fmla="*/ 135 h 135"/>
                <a:gd name="T16" fmla="*/ 0 w 68"/>
                <a:gd name="T17" fmla="*/ 60 h 135"/>
                <a:gd name="T18" fmla="*/ 21 w 68"/>
                <a:gd name="T19" fmla="*/ 95 h 135"/>
                <a:gd name="T20" fmla="*/ 48 w 68"/>
                <a:gd name="T21" fmla="*/ 41 h 135"/>
                <a:gd name="T22" fmla="*/ 8 w 68"/>
                <a:gd name="T23" fmla="*/ 46 h 135"/>
                <a:gd name="T24" fmla="*/ 68 w 68"/>
                <a:gd name="T25" fmla="*/ 0 h 135"/>
                <a:gd name="T26" fmla="*/ 68 w 68"/>
                <a:gd name="T27" fmla="*/ 76 h 135"/>
                <a:gd name="T28" fmla="*/ 48 w 68"/>
                <a:gd name="T29" fmla="*/ 41 h 13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8"/>
                <a:gd name="T46" fmla="*/ 0 h 135"/>
                <a:gd name="T47" fmla="*/ 68 w 68"/>
                <a:gd name="T48" fmla="*/ 135 h 13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8" h="135">
                  <a:moveTo>
                    <a:pt x="10" y="90"/>
                  </a:moveTo>
                  <a:lnTo>
                    <a:pt x="38" y="36"/>
                  </a:lnTo>
                  <a:lnTo>
                    <a:pt x="58" y="46"/>
                  </a:lnTo>
                  <a:lnTo>
                    <a:pt x="31" y="100"/>
                  </a:lnTo>
                  <a:lnTo>
                    <a:pt x="10" y="90"/>
                  </a:lnTo>
                  <a:close/>
                  <a:moveTo>
                    <a:pt x="21" y="95"/>
                  </a:moveTo>
                  <a:lnTo>
                    <a:pt x="61" y="90"/>
                  </a:lnTo>
                  <a:lnTo>
                    <a:pt x="0" y="135"/>
                  </a:lnTo>
                  <a:lnTo>
                    <a:pt x="0" y="60"/>
                  </a:lnTo>
                  <a:lnTo>
                    <a:pt x="21" y="95"/>
                  </a:lnTo>
                  <a:close/>
                  <a:moveTo>
                    <a:pt x="48" y="41"/>
                  </a:moveTo>
                  <a:lnTo>
                    <a:pt x="8" y="46"/>
                  </a:lnTo>
                  <a:lnTo>
                    <a:pt x="68" y="0"/>
                  </a:lnTo>
                  <a:lnTo>
                    <a:pt x="68" y="76"/>
                  </a:lnTo>
                  <a:lnTo>
                    <a:pt x="48" y="41"/>
                  </a:lnTo>
                  <a:close/>
                </a:path>
              </a:pathLst>
            </a:custGeom>
            <a:solidFill>
              <a:srgbClr val="7F7F7F"/>
            </a:solidFill>
            <a:ln w="0">
              <a:solidFill>
                <a:srgbClr val="7F7F7F"/>
              </a:solidFill>
              <a:round/>
              <a:headEnd/>
              <a:tailEnd/>
            </a:ln>
          </p:spPr>
          <p:txBody>
            <a:bodyPr/>
            <a:lstStyle/>
            <a:p>
              <a:endParaRPr lang="en-US"/>
            </a:p>
          </p:txBody>
        </p:sp>
        <p:sp>
          <p:nvSpPr>
            <p:cNvPr id="42132" name="Freeform 153"/>
            <p:cNvSpPr>
              <a:spLocks noEditPoints="1"/>
            </p:cNvSpPr>
            <p:nvPr/>
          </p:nvSpPr>
          <p:spPr bwMode="auto">
            <a:xfrm>
              <a:off x="2804" y="1939"/>
              <a:ext cx="198" cy="76"/>
            </a:xfrm>
            <a:custGeom>
              <a:avLst/>
              <a:gdLst>
                <a:gd name="T0" fmla="*/ 47 w 198"/>
                <a:gd name="T1" fmla="*/ 19 h 76"/>
                <a:gd name="T2" fmla="*/ 156 w 198"/>
                <a:gd name="T3" fmla="*/ 35 h 76"/>
                <a:gd name="T4" fmla="*/ 152 w 198"/>
                <a:gd name="T5" fmla="*/ 57 h 76"/>
                <a:gd name="T6" fmla="*/ 43 w 198"/>
                <a:gd name="T7" fmla="*/ 41 h 76"/>
                <a:gd name="T8" fmla="*/ 47 w 198"/>
                <a:gd name="T9" fmla="*/ 19 h 76"/>
                <a:gd name="T10" fmla="*/ 45 w 198"/>
                <a:gd name="T11" fmla="*/ 30 h 76"/>
                <a:gd name="T12" fmla="*/ 62 w 198"/>
                <a:gd name="T13" fmla="*/ 67 h 76"/>
                <a:gd name="T14" fmla="*/ 0 w 198"/>
                <a:gd name="T15" fmla="*/ 23 h 76"/>
                <a:gd name="T16" fmla="*/ 72 w 198"/>
                <a:gd name="T17" fmla="*/ 0 h 76"/>
                <a:gd name="T18" fmla="*/ 45 w 198"/>
                <a:gd name="T19" fmla="*/ 30 h 76"/>
                <a:gd name="T20" fmla="*/ 154 w 198"/>
                <a:gd name="T21" fmla="*/ 46 h 76"/>
                <a:gd name="T22" fmla="*/ 137 w 198"/>
                <a:gd name="T23" fmla="*/ 10 h 76"/>
                <a:gd name="T24" fmla="*/ 198 w 198"/>
                <a:gd name="T25" fmla="*/ 53 h 76"/>
                <a:gd name="T26" fmla="*/ 127 w 198"/>
                <a:gd name="T27" fmla="*/ 76 h 76"/>
                <a:gd name="T28" fmla="*/ 154 w 198"/>
                <a:gd name="T29" fmla="*/ 46 h 7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8"/>
                <a:gd name="T46" fmla="*/ 0 h 76"/>
                <a:gd name="T47" fmla="*/ 198 w 198"/>
                <a:gd name="T48" fmla="*/ 76 h 7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8" h="76">
                  <a:moveTo>
                    <a:pt x="47" y="19"/>
                  </a:moveTo>
                  <a:lnTo>
                    <a:pt x="156" y="35"/>
                  </a:lnTo>
                  <a:lnTo>
                    <a:pt x="152" y="57"/>
                  </a:lnTo>
                  <a:lnTo>
                    <a:pt x="43" y="41"/>
                  </a:lnTo>
                  <a:lnTo>
                    <a:pt x="47" y="19"/>
                  </a:lnTo>
                  <a:close/>
                  <a:moveTo>
                    <a:pt x="45" y="30"/>
                  </a:moveTo>
                  <a:lnTo>
                    <a:pt x="62" y="67"/>
                  </a:lnTo>
                  <a:lnTo>
                    <a:pt x="0" y="23"/>
                  </a:lnTo>
                  <a:lnTo>
                    <a:pt x="72" y="0"/>
                  </a:lnTo>
                  <a:lnTo>
                    <a:pt x="45" y="30"/>
                  </a:lnTo>
                  <a:close/>
                  <a:moveTo>
                    <a:pt x="154" y="46"/>
                  </a:moveTo>
                  <a:lnTo>
                    <a:pt x="137" y="10"/>
                  </a:lnTo>
                  <a:lnTo>
                    <a:pt x="198" y="53"/>
                  </a:lnTo>
                  <a:lnTo>
                    <a:pt x="127" y="76"/>
                  </a:lnTo>
                  <a:lnTo>
                    <a:pt x="154" y="46"/>
                  </a:lnTo>
                  <a:close/>
                </a:path>
              </a:pathLst>
            </a:custGeom>
            <a:solidFill>
              <a:srgbClr val="7F7F7F"/>
            </a:solidFill>
            <a:ln w="0">
              <a:solidFill>
                <a:srgbClr val="7F7F7F"/>
              </a:solidFill>
              <a:round/>
              <a:headEnd/>
              <a:tailEnd/>
            </a:ln>
          </p:spPr>
          <p:txBody>
            <a:bodyPr/>
            <a:lstStyle/>
            <a:p>
              <a:endParaRPr lang="en-US"/>
            </a:p>
          </p:txBody>
        </p:sp>
        <p:sp>
          <p:nvSpPr>
            <p:cNvPr id="42133" name="Freeform 154"/>
            <p:cNvSpPr>
              <a:spLocks noEditPoints="1"/>
            </p:cNvSpPr>
            <p:nvPr/>
          </p:nvSpPr>
          <p:spPr bwMode="auto">
            <a:xfrm>
              <a:off x="2368" y="1940"/>
              <a:ext cx="194" cy="77"/>
            </a:xfrm>
            <a:custGeom>
              <a:avLst/>
              <a:gdLst>
                <a:gd name="T0" fmla="*/ 46 w 194"/>
                <a:gd name="T1" fmla="*/ 19 h 77"/>
                <a:gd name="T2" fmla="*/ 152 w 194"/>
                <a:gd name="T3" fmla="*/ 36 h 77"/>
                <a:gd name="T4" fmla="*/ 148 w 194"/>
                <a:gd name="T5" fmla="*/ 58 h 77"/>
                <a:gd name="T6" fmla="*/ 42 w 194"/>
                <a:gd name="T7" fmla="*/ 41 h 77"/>
                <a:gd name="T8" fmla="*/ 46 w 194"/>
                <a:gd name="T9" fmla="*/ 19 h 77"/>
                <a:gd name="T10" fmla="*/ 44 w 194"/>
                <a:gd name="T11" fmla="*/ 30 h 77"/>
                <a:gd name="T12" fmla="*/ 61 w 194"/>
                <a:gd name="T13" fmla="*/ 67 h 77"/>
                <a:gd name="T14" fmla="*/ 0 w 194"/>
                <a:gd name="T15" fmla="*/ 22 h 77"/>
                <a:gd name="T16" fmla="*/ 72 w 194"/>
                <a:gd name="T17" fmla="*/ 0 h 77"/>
                <a:gd name="T18" fmla="*/ 44 w 194"/>
                <a:gd name="T19" fmla="*/ 30 h 77"/>
                <a:gd name="T20" fmla="*/ 150 w 194"/>
                <a:gd name="T21" fmla="*/ 47 h 77"/>
                <a:gd name="T22" fmla="*/ 133 w 194"/>
                <a:gd name="T23" fmla="*/ 10 h 77"/>
                <a:gd name="T24" fmla="*/ 194 w 194"/>
                <a:gd name="T25" fmla="*/ 55 h 77"/>
                <a:gd name="T26" fmla="*/ 122 w 194"/>
                <a:gd name="T27" fmla="*/ 77 h 77"/>
                <a:gd name="T28" fmla="*/ 150 w 194"/>
                <a:gd name="T29" fmla="*/ 47 h 7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4"/>
                <a:gd name="T46" fmla="*/ 0 h 77"/>
                <a:gd name="T47" fmla="*/ 194 w 194"/>
                <a:gd name="T48" fmla="*/ 77 h 7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4" h="77">
                  <a:moveTo>
                    <a:pt x="46" y="19"/>
                  </a:moveTo>
                  <a:lnTo>
                    <a:pt x="152" y="36"/>
                  </a:lnTo>
                  <a:lnTo>
                    <a:pt x="148" y="58"/>
                  </a:lnTo>
                  <a:lnTo>
                    <a:pt x="42" y="41"/>
                  </a:lnTo>
                  <a:lnTo>
                    <a:pt x="46" y="19"/>
                  </a:lnTo>
                  <a:close/>
                  <a:moveTo>
                    <a:pt x="44" y="30"/>
                  </a:moveTo>
                  <a:lnTo>
                    <a:pt x="61" y="67"/>
                  </a:lnTo>
                  <a:lnTo>
                    <a:pt x="0" y="22"/>
                  </a:lnTo>
                  <a:lnTo>
                    <a:pt x="72" y="0"/>
                  </a:lnTo>
                  <a:lnTo>
                    <a:pt x="44" y="30"/>
                  </a:lnTo>
                  <a:close/>
                  <a:moveTo>
                    <a:pt x="150" y="47"/>
                  </a:moveTo>
                  <a:lnTo>
                    <a:pt x="133" y="10"/>
                  </a:lnTo>
                  <a:lnTo>
                    <a:pt x="194" y="55"/>
                  </a:lnTo>
                  <a:lnTo>
                    <a:pt x="122" y="77"/>
                  </a:lnTo>
                  <a:lnTo>
                    <a:pt x="150" y="47"/>
                  </a:lnTo>
                  <a:close/>
                </a:path>
              </a:pathLst>
            </a:custGeom>
            <a:solidFill>
              <a:srgbClr val="2D2D8A"/>
            </a:solidFill>
            <a:ln w="0">
              <a:solidFill>
                <a:srgbClr val="2D2D8A"/>
              </a:solidFill>
              <a:round/>
              <a:headEnd/>
              <a:tailEnd/>
            </a:ln>
          </p:spPr>
          <p:txBody>
            <a:bodyPr/>
            <a:lstStyle/>
            <a:p>
              <a:endParaRPr lang="en-US"/>
            </a:p>
          </p:txBody>
        </p:sp>
        <p:sp>
          <p:nvSpPr>
            <p:cNvPr id="42134" name="Freeform 155"/>
            <p:cNvSpPr>
              <a:spLocks noEditPoints="1"/>
            </p:cNvSpPr>
            <p:nvPr/>
          </p:nvSpPr>
          <p:spPr bwMode="auto">
            <a:xfrm>
              <a:off x="2990" y="1755"/>
              <a:ext cx="77" cy="168"/>
            </a:xfrm>
            <a:custGeom>
              <a:avLst/>
              <a:gdLst>
                <a:gd name="T0" fmla="*/ 37 w 77"/>
                <a:gd name="T1" fmla="*/ 40 h 168"/>
                <a:gd name="T2" fmla="*/ 62 w 77"/>
                <a:gd name="T3" fmla="*/ 122 h 168"/>
                <a:gd name="T4" fmla="*/ 40 w 77"/>
                <a:gd name="T5" fmla="*/ 129 h 168"/>
                <a:gd name="T6" fmla="*/ 15 w 77"/>
                <a:gd name="T7" fmla="*/ 47 h 168"/>
                <a:gd name="T8" fmla="*/ 37 w 77"/>
                <a:gd name="T9" fmla="*/ 40 h 168"/>
                <a:gd name="T10" fmla="*/ 26 w 77"/>
                <a:gd name="T11" fmla="*/ 43 h 168"/>
                <a:gd name="T12" fmla="*/ 0 w 77"/>
                <a:gd name="T13" fmla="*/ 75 h 168"/>
                <a:gd name="T14" fmla="*/ 12 w 77"/>
                <a:gd name="T15" fmla="*/ 0 h 168"/>
                <a:gd name="T16" fmla="*/ 65 w 77"/>
                <a:gd name="T17" fmla="*/ 55 h 168"/>
                <a:gd name="T18" fmla="*/ 26 w 77"/>
                <a:gd name="T19" fmla="*/ 43 h 168"/>
                <a:gd name="T20" fmla="*/ 51 w 77"/>
                <a:gd name="T21" fmla="*/ 125 h 168"/>
                <a:gd name="T22" fmla="*/ 77 w 77"/>
                <a:gd name="T23" fmla="*/ 94 h 168"/>
                <a:gd name="T24" fmla="*/ 64 w 77"/>
                <a:gd name="T25" fmla="*/ 168 h 168"/>
                <a:gd name="T26" fmla="*/ 12 w 77"/>
                <a:gd name="T27" fmla="*/ 114 h 168"/>
                <a:gd name="T28" fmla="*/ 51 w 77"/>
                <a:gd name="T29" fmla="*/ 125 h 1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168"/>
                <a:gd name="T47" fmla="*/ 77 w 77"/>
                <a:gd name="T48" fmla="*/ 168 h 1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168">
                  <a:moveTo>
                    <a:pt x="37" y="40"/>
                  </a:moveTo>
                  <a:lnTo>
                    <a:pt x="62" y="122"/>
                  </a:lnTo>
                  <a:lnTo>
                    <a:pt x="40" y="129"/>
                  </a:lnTo>
                  <a:lnTo>
                    <a:pt x="15" y="47"/>
                  </a:lnTo>
                  <a:lnTo>
                    <a:pt x="37" y="40"/>
                  </a:lnTo>
                  <a:close/>
                  <a:moveTo>
                    <a:pt x="26" y="43"/>
                  </a:moveTo>
                  <a:lnTo>
                    <a:pt x="0" y="75"/>
                  </a:lnTo>
                  <a:lnTo>
                    <a:pt x="12" y="0"/>
                  </a:lnTo>
                  <a:lnTo>
                    <a:pt x="65" y="55"/>
                  </a:lnTo>
                  <a:lnTo>
                    <a:pt x="26" y="43"/>
                  </a:lnTo>
                  <a:close/>
                  <a:moveTo>
                    <a:pt x="51" y="125"/>
                  </a:moveTo>
                  <a:lnTo>
                    <a:pt x="77" y="94"/>
                  </a:lnTo>
                  <a:lnTo>
                    <a:pt x="64" y="168"/>
                  </a:lnTo>
                  <a:lnTo>
                    <a:pt x="12" y="114"/>
                  </a:lnTo>
                  <a:lnTo>
                    <a:pt x="51" y="125"/>
                  </a:lnTo>
                  <a:close/>
                </a:path>
              </a:pathLst>
            </a:custGeom>
            <a:solidFill>
              <a:srgbClr val="00B0F0"/>
            </a:solidFill>
            <a:ln w="0">
              <a:solidFill>
                <a:srgbClr val="00B0F0"/>
              </a:solidFill>
              <a:round/>
              <a:headEnd/>
              <a:tailEnd/>
            </a:ln>
          </p:spPr>
          <p:txBody>
            <a:bodyPr/>
            <a:lstStyle/>
            <a:p>
              <a:endParaRPr lang="en-US"/>
            </a:p>
          </p:txBody>
        </p:sp>
        <p:sp>
          <p:nvSpPr>
            <p:cNvPr id="42135" name="Freeform 156"/>
            <p:cNvSpPr>
              <a:spLocks noEditPoints="1"/>
            </p:cNvSpPr>
            <p:nvPr/>
          </p:nvSpPr>
          <p:spPr bwMode="auto">
            <a:xfrm>
              <a:off x="2226" y="1584"/>
              <a:ext cx="72" cy="152"/>
            </a:xfrm>
            <a:custGeom>
              <a:avLst/>
              <a:gdLst>
                <a:gd name="T0" fmla="*/ 12 w 72"/>
                <a:gd name="T1" fmla="*/ 106 h 152"/>
                <a:gd name="T2" fmla="*/ 39 w 72"/>
                <a:gd name="T3" fmla="*/ 38 h 152"/>
                <a:gd name="T4" fmla="*/ 60 w 72"/>
                <a:gd name="T5" fmla="*/ 46 h 152"/>
                <a:gd name="T6" fmla="*/ 34 w 72"/>
                <a:gd name="T7" fmla="*/ 114 h 152"/>
                <a:gd name="T8" fmla="*/ 12 w 72"/>
                <a:gd name="T9" fmla="*/ 106 h 152"/>
                <a:gd name="T10" fmla="*/ 23 w 72"/>
                <a:gd name="T11" fmla="*/ 110 h 152"/>
                <a:gd name="T12" fmla="*/ 63 w 72"/>
                <a:gd name="T13" fmla="*/ 101 h 152"/>
                <a:gd name="T14" fmla="*/ 7 w 72"/>
                <a:gd name="T15" fmla="*/ 152 h 152"/>
                <a:gd name="T16" fmla="*/ 0 w 72"/>
                <a:gd name="T17" fmla="*/ 77 h 152"/>
                <a:gd name="T18" fmla="*/ 23 w 72"/>
                <a:gd name="T19" fmla="*/ 110 h 152"/>
                <a:gd name="T20" fmla="*/ 49 w 72"/>
                <a:gd name="T21" fmla="*/ 42 h 152"/>
                <a:gd name="T22" fmla="*/ 9 w 72"/>
                <a:gd name="T23" fmla="*/ 51 h 152"/>
                <a:gd name="T24" fmla="*/ 65 w 72"/>
                <a:gd name="T25" fmla="*/ 0 h 152"/>
                <a:gd name="T26" fmla="*/ 72 w 72"/>
                <a:gd name="T27" fmla="*/ 76 h 152"/>
                <a:gd name="T28" fmla="*/ 49 w 72"/>
                <a:gd name="T29" fmla="*/ 42 h 1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2"/>
                <a:gd name="T46" fmla="*/ 0 h 152"/>
                <a:gd name="T47" fmla="*/ 72 w 72"/>
                <a:gd name="T48" fmla="*/ 152 h 15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2" h="152">
                  <a:moveTo>
                    <a:pt x="12" y="106"/>
                  </a:moveTo>
                  <a:lnTo>
                    <a:pt x="39" y="38"/>
                  </a:lnTo>
                  <a:lnTo>
                    <a:pt x="60" y="46"/>
                  </a:lnTo>
                  <a:lnTo>
                    <a:pt x="34" y="114"/>
                  </a:lnTo>
                  <a:lnTo>
                    <a:pt x="12" y="106"/>
                  </a:lnTo>
                  <a:close/>
                  <a:moveTo>
                    <a:pt x="23" y="110"/>
                  </a:moveTo>
                  <a:lnTo>
                    <a:pt x="63" y="101"/>
                  </a:lnTo>
                  <a:lnTo>
                    <a:pt x="7" y="152"/>
                  </a:lnTo>
                  <a:lnTo>
                    <a:pt x="0" y="77"/>
                  </a:lnTo>
                  <a:lnTo>
                    <a:pt x="23" y="110"/>
                  </a:lnTo>
                  <a:close/>
                  <a:moveTo>
                    <a:pt x="49" y="42"/>
                  </a:moveTo>
                  <a:lnTo>
                    <a:pt x="9" y="51"/>
                  </a:lnTo>
                  <a:lnTo>
                    <a:pt x="65" y="0"/>
                  </a:lnTo>
                  <a:lnTo>
                    <a:pt x="72" y="76"/>
                  </a:lnTo>
                  <a:lnTo>
                    <a:pt x="49" y="42"/>
                  </a:lnTo>
                  <a:close/>
                </a:path>
              </a:pathLst>
            </a:custGeom>
            <a:solidFill>
              <a:srgbClr val="2D2D8A"/>
            </a:solidFill>
            <a:ln w="0">
              <a:solidFill>
                <a:srgbClr val="2D2D8A"/>
              </a:solidFill>
              <a:round/>
              <a:headEnd/>
              <a:tailEnd/>
            </a:ln>
          </p:spPr>
          <p:txBody>
            <a:bodyPr/>
            <a:lstStyle/>
            <a:p>
              <a:endParaRPr lang="en-US"/>
            </a:p>
          </p:txBody>
        </p:sp>
        <p:sp>
          <p:nvSpPr>
            <p:cNvPr id="42136" name="Freeform 157"/>
            <p:cNvSpPr>
              <a:spLocks noEditPoints="1"/>
            </p:cNvSpPr>
            <p:nvPr/>
          </p:nvSpPr>
          <p:spPr bwMode="auto">
            <a:xfrm>
              <a:off x="2386" y="1139"/>
              <a:ext cx="94" cy="212"/>
            </a:xfrm>
            <a:custGeom>
              <a:avLst/>
              <a:gdLst>
                <a:gd name="T0" fmla="*/ 13 w 94"/>
                <a:gd name="T1" fmla="*/ 166 h 212"/>
                <a:gd name="T2" fmla="*/ 59 w 94"/>
                <a:gd name="T3" fmla="*/ 38 h 212"/>
                <a:gd name="T4" fmla="*/ 80 w 94"/>
                <a:gd name="T5" fmla="*/ 46 h 212"/>
                <a:gd name="T6" fmla="*/ 35 w 94"/>
                <a:gd name="T7" fmla="*/ 174 h 212"/>
                <a:gd name="T8" fmla="*/ 13 w 94"/>
                <a:gd name="T9" fmla="*/ 166 h 212"/>
                <a:gd name="T10" fmla="*/ 24 w 94"/>
                <a:gd name="T11" fmla="*/ 170 h 212"/>
                <a:gd name="T12" fmla="*/ 64 w 94"/>
                <a:gd name="T13" fmla="*/ 160 h 212"/>
                <a:gd name="T14" fmla="*/ 9 w 94"/>
                <a:gd name="T15" fmla="*/ 212 h 212"/>
                <a:gd name="T16" fmla="*/ 0 w 94"/>
                <a:gd name="T17" fmla="*/ 137 h 212"/>
                <a:gd name="T18" fmla="*/ 24 w 94"/>
                <a:gd name="T19" fmla="*/ 170 h 212"/>
                <a:gd name="T20" fmla="*/ 70 w 94"/>
                <a:gd name="T21" fmla="*/ 42 h 212"/>
                <a:gd name="T22" fmla="*/ 31 w 94"/>
                <a:gd name="T23" fmla="*/ 52 h 212"/>
                <a:gd name="T24" fmla="*/ 85 w 94"/>
                <a:gd name="T25" fmla="*/ 0 h 212"/>
                <a:gd name="T26" fmla="*/ 94 w 94"/>
                <a:gd name="T27" fmla="*/ 75 h 212"/>
                <a:gd name="T28" fmla="*/ 70 w 94"/>
                <a:gd name="T29" fmla="*/ 42 h 21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4"/>
                <a:gd name="T46" fmla="*/ 0 h 212"/>
                <a:gd name="T47" fmla="*/ 94 w 94"/>
                <a:gd name="T48" fmla="*/ 212 h 21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4" h="212">
                  <a:moveTo>
                    <a:pt x="13" y="166"/>
                  </a:moveTo>
                  <a:lnTo>
                    <a:pt x="59" y="38"/>
                  </a:lnTo>
                  <a:lnTo>
                    <a:pt x="80" y="46"/>
                  </a:lnTo>
                  <a:lnTo>
                    <a:pt x="35" y="174"/>
                  </a:lnTo>
                  <a:lnTo>
                    <a:pt x="13" y="166"/>
                  </a:lnTo>
                  <a:close/>
                  <a:moveTo>
                    <a:pt x="24" y="170"/>
                  </a:moveTo>
                  <a:lnTo>
                    <a:pt x="64" y="160"/>
                  </a:lnTo>
                  <a:lnTo>
                    <a:pt x="9" y="212"/>
                  </a:lnTo>
                  <a:lnTo>
                    <a:pt x="0" y="137"/>
                  </a:lnTo>
                  <a:lnTo>
                    <a:pt x="24" y="170"/>
                  </a:lnTo>
                  <a:close/>
                  <a:moveTo>
                    <a:pt x="70" y="42"/>
                  </a:moveTo>
                  <a:lnTo>
                    <a:pt x="31" y="52"/>
                  </a:lnTo>
                  <a:lnTo>
                    <a:pt x="85" y="0"/>
                  </a:lnTo>
                  <a:lnTo>
                    <a:pt x="94" y="75"/>
                  </a:lnTo>
                  <a:lnTo>
                    <a:pt x="70" y="42"/>
                  </a:lnTo>
                  <a:close/>
                </a:path>
              </a:pathLst>
            </a:custGeom>
            <a:solidFill>
              <a:srgbClr val="FF0000"/>
            </a:solidFill>
            <a:ln w="0">
              <a:solidFill>
                <a:srgbClr val="FF0000"/>
              </a:solidFill>
              <a:round/>
              <a:headEnd/>
              <a:tailEnd/>
            </a:ln>
          </p:spPr>
          <p:txBody>
            <a:bodyPr/>
            <a:lstStyle/>
            <a:p>
              <a:endParaRPr lang="en-US"/>
            </a:p>
          </p:txBody>
        </p:sp>
        <p:sp>
          <p:nvSpPr>
            <p:cNvPr id="42137" name="Freeform 160"/>
            <p:cNvSpPr>
              <a:spLocks noEditPoints="1"/>
            </p:cNvSpPr>
            <p:nvPr/>
          </p:nvSpPr>
          <p:spPr bwMode="auto">
            <a:xfrm>
              <a:off x="2669" y="1139"/>
              <a:ext cx="131" cy="240"/>
            </a:xfrm>
            <a:custGeom>
              <a:avLst/>
              <a:gdLst>
                <a:gd name="T0" fmla="*/ 99 w 131"/>
                <a:gd name="T1" fmla="*/ 205 h 240"/>
                <a:gd name="T2" fmla="*/ 12 w 131"/>
                <a:gd name="T3" fmla="*/ 45 h 240"/>
                <a:gd name="T4" fmla="*/ 32 w 131"/>
                <a:gd name="T5" fmla="*/ 34 h 240"/>
                <a:gd name="T6" fmla="*/ 119 w 131"/>
                <a:gd name="T7" fmla="*/ 195 h 240"/>
                <a:gd name="T8" fmla="*/ 99 w 131"/>
                <a:gd name="T9" fmla="*/ 205 h 240"/>
                <a:gd name="T10" fmla="*/ 109 w 131"/>
                <a:gd name="T11" fmla="*/ 200 h 240"/>
                <a:gd name="T12" fmla="*/ 128 w 131"/>
                <a:gd name="T13" fmla="*/ 164 h 240"/>
                <a:gd name="T14" fmla="*/ 131 w 131"/>
                <a:gd name="T15" fmla="*/ 240 h 240"/>
                <a:gd name="T16" fmla="*/ 69 w 131"/>
                <a:gd name="T17" fmla="*/ 196 h 240"/>
                <a:gd name="T18" fmla="*/ 109 w 131"/>
                <a:gd name="T19" fmla="*/ 200 h 240"/>
                <a:gd name="T20" fmla="*/ 22 w 131"/>
                <a:gd name="T21" fmla="*/ 39 h 240"/>
                <a:gd name="T22" fmla="*/ 3 w 131"/>
                <a:gd name="T23" fmla="*/ 75 h 240"/>
                <a:gd name="T24" fmla="*/ 0 w 131"/>
                <a:gd name="T25" fmla="*/ 0 h 240"/>
                <a:gd name="T26" fmla="*/ 62 w 131"/>
                <a:gd name="T27" fmla="*/ 43 h 240"/>
                <a:gd name="T28" fmla="*/ 22 w 131"/>
                <a:gd name="T29" fmla="*/ 39 h 2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1"/>
                <a:gd name="T46" fmla="*/ 0 h 240"/>
                <a:gd name="T47" fmla="*/ 131 w 131"/>
                <a:gd name="T48" fmla="*/ 240 h 2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1" h="240">
                  <a:moveTo>
                    <a:pt x="99" y="205"/>
                  </a:moveTo>
                  <a:lnTo>
                    <a:pt x="12" y="45"/>
                  </a:lnTo>
                  <a:lnTo>
                    <a:pt x="32" y="34"/>
                  </a:lnTo>
                  <a:lnTo>
                    <a:pt x="119" y="195"/>
                  </a:lnTo>
                  <a:lnTo>
                    <a:pt x="99" y="205"/>
                  </a:lnTo>
                  <a:close/>
                  <a:moveTo>
                    <a:pt x="109" y="200"/>
                  </a:moveTo>
                  <a:lnTo>
                    <a:pt x="128" y="164"/>
                  </a:lnTo>
                  <a:lnTo>
                    <a:pt x="131" y="240"/>
                  </a:lnTo>
                  <a:lnTo>
                    <a:pt x="69" y="196"/>
                  </a:lnTo>
                  <a:lnTo>
                    <a:pt x="109" y="200"/>
                  </a:lnTo>
                  <a:close/>
                  <a:moveTo>
                    <a:pt x="22" y="39"/>
                  </a:moveTo>
                  <a:lnTo>
                    <a:pt x="3" y="75"/>
                  </a:lnTo>
                  <a:lnTo>
                    <a:pt x="0" y="0"/>
                  </a:lnTo>
                  <a:lnTo>
                    <a:pt x="62" y="43"/>
                  </a:lnTo>
                  <a:lnTo>
                    <a:pt x="22" y="39"/>
                  </a:lnTo>
                  <a:close/>
                </a:path>
              </a:pathLst>
            </a:custGeom>
            <a:solidFill>
              <a:srgbClr val="7F7F7F"/>
            </a:solidFill>
            <a:ln w="0">
              <a:solidFill>
                <a:srgbClr val="7F7F7F"/>
              </a:solidFill>
              <a:round/>
              <a:headEnd/>
              <a:tailEnd/>
            </a:ln>
          </p:spPr>
          <p:txBody>
            <a:bodyPr/>
            <a:lstStyle/>
            <a:p>
              <a:endParaRPr lang="en-US"/>
            </a:p>
          </p:txBody>
        </p:sp>
        <p:sp>
          <p:nvSpPr>
            <p:cNvPr id="42138" name="Freeform 161"/>
            <p:cNvSpPr>
              <a:spLocks noEditPoints="1"/>
            </p:cNvSpPr>
            <p:nvPr/>
          </p:nvSpPr>
          <p:spPr bwMode="auto">
            <a:xfrm>
              <a:off x="2903" y="1215"/>
              <a:ext cx="68" cy="135"/>
            </a:xfrm>
            <a:custGeom>
              <a:avLst/>
              <a:gdLst>
                <a:gd name="T0" fmla="*/ 10 w 68"/>
                <a:gd name="T1" fmla="*/ 90 h 135"/>
                <a:gd name="T2" fmla="*/ 38 w 68"/>
                <a:gd name="T3" fmla="*/ 36 h 135"/>
                <a:gd name="T4" fmla="*/ 58 w 68"/>
                <a:gd name="T5" fmla="*/ 45 h 135"/>
                <a:gd name="T6" fmla="*/ 31 w 68"/>
                <a:gd name="T7" fmla="*/ 100 h 135"/>
                <a:gd name="T8" fmla="*/ 10 w 68"/>
                <a:gd name="T9" fmla="*/ 90 h 135"/>
                <a:gd name="T10" fmla="*/ 21 w 68"/>
                <a:gd name="T11" fmla="*/ 95 h 135"/>
                <a:gd name="T12" fmla="*/ 61 w 68"/>
                <a:gd name="T13" fmla="*/ 90 h 135"/>
                <a:gd name="T14" fmla="*/ 0 w 68"/>
                <a:gd name="T15" fmla="*/ 135 h 135"/>
                <a:gd name="T16" fmla="*/ 0 w 68"/>
                <a:gd name="T17" fmla="*/ 60 h 135"/>
                <a:gd name="T18" fmla="*/ 21 w 68"/>
                <a:gd name="T19" fmla="*/ 95 h 135"/>
                <a:gd name="T20" fmla="*/ 48 w 68"/>
                <a:gd name="T21" fmla="*/ 41 h 135"/>
                <a:gd name="T22" fmla="*/ 8 w 68"/>
                <a:gd name="T23" fmla="*/ 45 h 135"/>
                <a:gd name="T24" fmla="*/ 68 w 68"/>
                <a:gd name="T25" fmla="*/ 0 h 135"/>
                <a:gd name="T26" fmla="*/ 68 w 68"/>
                <a:gd name="T27" fmla="*/ 76 h 135"/>
                <a:gd name="T28" fmla="*/ 48 w 68"/>
                <a:gd name="T29" fmla="*/ 41 h 13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8"/>
                <a:gd name="T46" fmla="*/ 0 h 135"/>
                <a:gd name="T47" fmla="*/ 68 w 68"/>
                <a:gd name="T48" fmla="*/ 135 h 13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8" h="135">
                  <a:moveTo>
                    <a:pt x="10" y="90"/>
                  </a:moveTo>
                  <a:lnTo>
                    <a:pt x="38" y="36"/>
                  </a:lnTo>
                  <a:lnTo>
                    <a:pt x="58" y="45"/>
                  </a:lnTo>
                  <a:lnTo>
                    <a:pt x="31" y="100"/>
                  </a:lnTo>
                  <a:lnTo>
                    <a:pt x="10" y="90"/>
                  </a:lnTo>
                  <a:close/>
                  <a:moveTo>
                    <a:pt x="21" y="95"/>
                  </a:moveTo>
                  <a:lnTo>
                    <a:pt x="61" y="90"/>
                  </a:lnTo>
                  <a:lnTo>
                    <a:pt x="0" y="135"/>
                  </a:lnTo>
                  <a:lnTo>
                    <a:pt x="0" y="60"/>
                  </a:lnTo>
                  <a:lnTo>
                    <a:pt x="21" y="95"/>
                  </a:lnTo>
                  <a:close/>
                  <a:moveTo>
                    <a:pt x="48" y="41"/>
                  </a:moveTo>
                  <a:lnTo>
                    <a:pt x="8" y="45"/>
                  </a:lnTo>
                  <a:lnTo>
                    <a:pt x="68" y="0"/>
                  </a:lnTo>
                  <a:lnTo>
                    <a:pt x="68" y="76"/>
                  </a:lnTo>
                  <a:lnTo>
                    <a:pt x="48" y="41"/>
                  </a:lnTo>
                  <a:close/>
                </a:path>
              </a:pathLst>
            </a:custGeom>
            <a:solidFill>
              <a:srgbClr val="7F7F7F"/>
            </a:solidFill>
            <a:ln w="0">
              <a:solidFill>
                <a:srgbClr val="7F7F7F"/>
              </a:solidFill>
              <a:round/>
              <a:headEnd/>
              <a:tailEnd/>
            </a:ln>
          </p:spPr>
          <p:txBody>
            <a:bodyPr/>
            <a:lstStyle/>
            <a:p>
              <a:endParaRPr lang="en-US"/>
            </a:p>
          </p:txBody>
        </p:sp>
        <p:sp>
          <p:nvSpPr>
            <p:cNvPr id="42139" name="Freeform 162"/>
            <p:cNvSpPr>
              <a:spLocks noEditPoints="1"/>
            </p:cNvSpPr>
            <p:nvPr/>
          </p:nvSpPr>
          <p:spPr bwMode="auto">
            <a:xfrm>
              <a:off x="3070" y="1679"/>
              <a:ext cx="200" cy="90"/>
            </a:xfrm>
            <a:custGeom>
              <a:avLst/>
              <a:gdLst>
                <a:gd name="T0" fmla="*/ 46 w 200"/>
                <a:gd name="T1" fmla="*/ 14 h 90"/>
                <a:gd name="T2" fmla="*/ 161 w 200"/>
                <a:gd name="T3" fmla="*/ 55 h 90"/>
                <a:gd name="T4" fmla="*/ 154 w 200"/>
                <a:gd name="T5" fmla="*/ 76 h 90"/>
                <a:gd name="T6" fmla="*/ 39 w 200"/>
                <a:gd name="T7" fmla="*/ 35 h 90"/>
                <a:gd name="T8" fmla="*/ 46 w 200"/>
                <a:gd name="T9" fmla="*/ 14 h 90"/>
                <a:gd name="T10" fmla="*/ 42 w 200"/>
                <a:gd name="T11" fmla="*/ 24 h 90"/>
                <a:gd name="T12" fmla="*/ 52 w 200"/>
                <a:gd name="T13" fmla="*/ 63 h 90"/>
                <a:gd name="T14" fmla="*/ 0 w 200"/>
                <a:gd name="T15" fmla="*/ 9 h 90"/>
                <a:gd name="T16" fmla="*/ 75 w 200"/>
                <a:gd name="T17" fmla="*/ 0 h 90"/>
                <a:gd name="T18" fmla="*/ 42 w 200"/>
                <a:gd name="T19" fmla="*/ 24 h 90"/>
                <a:gd name="T20" fmla="*/ 157 w 200"/>
                <a:gd name="T21" fmla="*/ 65 h 90"/>
                <a:gd name="T22" fmla="*/ 148 w 200"/>
                <a:gd name="T23" fmla="*/ 26 h 90"/>
                <a:gd name="T24" fmla="*/ 200 w 200"/>
                <a:gd name="T25" fmla="*/ 80 h 90"/>
                <a:gd name="T26" fmla="*/ 125 w 200"/>
                <a:gd name="T27" fmla="*/ 90 h 90"/>
                <a:gd name="T28" fmla="*/ 157 w 200"/>
                <a:gd name="T29" fmla="*/ 65 h 9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0"/>
                <a:gd name="T46" fmla="*/ 0 h 90"/>
                <a:gd name="T47" fmla="*/ 200 w 200"/>
                <a:gd name="T48" fmla="*/ 90 h 9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0" h="90">
                  <a:moveTo>
                    <a:pt x="46" y="14"/>
                  </a:moveTo>
                  <a:lnTo>
                    <a:pt x="161" y="55"/>
                  </a:lnTo>
                  <a:lnTo>
                    <a:pt x="154" y="76"/>
                  </a:lnTo>
                  <a:lnTo>
                    <a:pt x="39" y="35"/>
                  </a:lnTo>
                  <a:lnTo>
                    <a:pt x="46" y="14"/>
                  </a:lnTo>
                  <a:close/>
                  <a:moveTo>
                    <a:pt x="42" y="24"/>
                  </a:moveTo>
                  <a:lnTo>
                    <a:pt x="52" y="63"/>
                  </a:lnTo>
                  <a:lnTo>
                    <a:pt x="0" y="9"/>
                  </a:lnTo>
                  <a:lnTo>
                    <a:pt x="75" y="0"/>
                  </a:lnTo>
                  <a:lnTo>
                    <a:pt x="42" y="24"/>
                  </a:lnTo>
                  <a:close/>
                  <a:moveTo>
                    <a:pt x="157" y="65"/>
                  </a:moveTo>
                  <a:lnTo>
                    <a:pt x="148" y="26"/>
                  </a:lnTo>
                  <a:lnTo>
                    <a:pt x="200" y="80"/>
                  </a:lnTo>
                  <a:lnTo>
                    <a:pt x="125" y="90"/>
                  </a:lnTo>
                  <a:lnTo>
                    <a:pt x="157" y="65"/>
                  </a:lnTo>
                  <a:close/>
                </a:path>
              </a:pathLst>
            </a:custGeom>
            <a:solidFill>
              <a:srgbClr val="2D2D8A"/>
            </a:solidFill>
            <a:ln w="0">
              <a:solidFill>
                <a:srgbClr val="2D2D8A"/>
              </a:solidFill>
              <a:round/>
              <a:headEnd/>
              <a:tailEnd/>
            </a:ln>
          </p:spPr>
          <p:txBody>
            <a:bodyPr/>
            <a:lstStyle/>
            <a:p>
              <a:endParaRPr lang="en-US"/>
            </a:p>
          </p:txBody>
        </p:sp>
        <p:sp>
          <p:nvSpPr>
            <p:cNvPr id="42140" name="Freeform 163"/>
            <p:cNvSpPr>
              <a:spLocks noEditPoints="1"/>
            </p:cNvSpPr>
            <p:nvPr/>
          </p:nvSpPr>
          <p:spPr bwMode="auto">
            <a:xfrm>
              <a:off x="3475" y="1857"/>
              <a:ext cx="326" cy="154"/>
            </a:xfrm>
            <a:custGeom>
              <a:avLst/>
              <a:gdLst>
                <a:gd name="T0" fmla="*/ 46 w 326"/>
                <a:gd name="T1" fmla="*/ 11 h 154"/>
                <a:gd name="T2" fmla="*/ 290 w 326"/>
                <a:gd name="T3" fmla="*/ 123 h 154"/>
                <a:gd name="T4" fmla="*/ 280 w 326"/>
                <a:gd name="T5" fmla="*/ 143 h 154"/>
                <a:gd name="T6" fmla="*/ 36 w 326"/>
                <a:gd name="T7" fmla="*/ 31 h 154"/>
                <a:gd name="T8" fmla="*/ 46 w 326"/>
                <a:gd name="T9" fmla="*/ 11 h 154"/>
                <a:gd name="T10" fmla="*/ 41 w 326"/>
                <a:gd name="T11" fmla="*/ 21 h 154"/>
                <a:gd name="T12" fmla="*/ 47 w 326"/>
                <a:gd name="T13" fmla="*/ 61 h 154"/>
                <a:gd name="T14" fmla="*/ 0 w 326"/>
                <a:gd name="T15" fmla="*/ 2 h 154"/>
                <a:gd name="T16" fmla="*/ 76 w 326"/>
                <a:gd name="T17" fmla="*/ 0 h 154"/>
                <a:gd name="T18" fmla="*/ 41 w 326"/>
                <a:gd name="T19" fmla="*/ 21 h 154"/>
                <a:gd name="T20" fmla="*/ 285 w 326"/>
                <a:gd name="T21" fmla="*/ 133 h 154"/>
                <a:gd name="T22" fmla="*/ 279 w 326"/>
                <a:gd name="T23" fmla="*/ 93 h 154"/>
                <a:gd name="T24" fmla="*/ 326 w 326"/>
                <a:gd name="T25" fmla="*/ 152 h 154"/>
                <a:gd name="T26" fmla="*/ 250 w 326"/>
                <a:gd name="T27" fmla="*/ 154 h 154"/>
                <a:gd name="T28" fmla="*/ 285 w 326"/>
                <a:gd name="T29" fmla="*/ 133 h 15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6"/>
                <a:gd name="T46" fmla="*/ 0 h 154"/>
                <a:gd name="T47" fmla="*/ 326 w 326"/>
                <a:gd name="T48" fmla="*/ 154 h 15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6" h="154">
                  <a:moveTo>
                    <a:pt x="46" y="11"/>
                  </a:moveTo>
                  <a:lnTo>
                    <a:pt x="290" y="123"/>
                  </a:lnTo>
                  <a:lnTo>
                    <a:pt x="280" y="143"/>
                  </a:lnTo>
                  <a:lnTo>
                    <a:pt x="36" y="31"/>
                  </a:lnTo>
                  <a:lnTo>
                    <a:pt x="46" y="11"/>
                  </a:lnTo>
                  <a:close/>
                  <a:moveTo>
                    <a:pt x="41" y="21"/>
                  </a:moveTo>
                  <a:lnTo>
                    <a:pt x="47" y="61"/>
                  </a:lnTo>
                  <a:lnTo>
                    <a:pt x="0" y="2"/>
                  </a:lnTo>
                  <a:lnTo>
                    <a:pt x="76" y="0"/>
                  </a:lnTo>
                  <a:lnTo>
                    <a:pt x="41" y="21"/>
                  </a:lnTo>
                  <a:close/>
                  <a:moveTo>
                    <a:pt x="285" y="133"/>
                  </a:moveTo>
                  <a:lnTo>
                    <a:pt x="279" y="93"/>
                  </a:lnTo>
                  <a:lnTo>
                    <a:pt x="326" y="152"/>
                  </a:lnTo>
                  <a:lnTo>
                    <a:pt x="250" y="154"/>
                  </a:lnTo>
                  <a:lnTo>
                    <a:pt x="285" y="133"/>
                  </a:lnTo>
                  <a:close/>
                </a:path>
              </a:pathLst>
            </a:custGeom>
            <a:solidFill>
              <a:srgbClr val="2D2D8A"/>
            </a:solidFill>
            <a:ln w="0">
              <a:solidFill>
                <a:srgbClr val="2D2D8A"/>
              </a:solidFill>
              <a:round/>
              <a:headEnd/>
              <a:tailEnd/>
            </a:ln>
          </p:spPr>
          <p:txBody>
            <a:bodyPr/>
            <a:lstStyle/>
            <a:p>
              <a:endParaRPr lang="en-US"/>
            </a:p>
          </p:txBody>
        </p:sp>
        <p:sp>
          <p:nvSpPr>
            <p:cNvPr id="42141" name="Freeform 164"/>
            <p:cNvSpPr>
              <a:spLocks noEditPoints="1"/>
            </p:cNvSpPr>
            <p:nvPr/>
          </p:nvSpPr>
          <p:spPr bwMode="auto">
            <a:xfrm>
              <a:off x="3205" y="1859"/>
              <a:ext cx="99" cy="102"/>
            </a:xfrm>
            <a:custGeom>
              <a:avLst/>
              <a:gdLst>
                <a:gd name="T0" fmla="*/ 23 w 99"/>
                <a:gd name="T1" fmla="*/ 62 h 102"/>
                <a:gd name="T2" fmla="*/ 59 w 99"/>
                <a:gd name="T3" fmla="*/ 25 h 102"/>
                <a:gd name="T4" fmla="*/ 76 w 99"/>
                <a:gd name="T5" fmla="*/ 40 h 102"/>
                <a:gd name="T6" fmla="*/ 39 w 99"/>
                <a:gd name="T7" fmla="*/ 78 h 102"/>
                <a:gd name="T8" fmla="*/ 23 w 99"/>
                <a:gd name="T9" fmla="*/ 62 h 102"/>
                <a:gd name="T10" fmla="*/ 31 w 99"/>
                <a:gd name="T11" fmla="*/ 70 h 102"/>
                <a:gd name="T12" fmla="*/ 71 w 99"/>
                <a:gd name="T13" fmla="*/ 77 h 102"/>
                <a:gd name="T14" fmla="*/ 0 w 99"/>
                <a:gd name="T15" fmla="*/ 102 h 102"/>
                <a:gd name="T16" fmla="*/ 23 w 99"/>
                <a:gd name="T17" fmla="*/ 30 h 102"/>
                <a:gd name="T18" fmla="*/ 31 w 99"/>
                <a:gd name="T19" fmla="*/ 70 h 102"/>
                <a:gd name="T20" fmla="*/ 67 w 99"/>
                <a:gd name="T21" fmla="*/ 33 h 102"/>
                <a:gd name="T22" fmla="*/ 28 w 99"/>
                <a:gd name="T23" fmla="*/ 25 h 102"/>
                <a:gd name="T24" fmla="*/ 99 w 99"/>
                <a:gd name="T25" fmla="*/ 0 h 102"/>
                <a:gd name="T26" fmla="*/ 76 w 99"/>
                <a:gd name="T27" fmla="*/ 72 h 102"/>
                <a:gd name="T28" fmla="*/ 67 w 99"/>
                <a:gd name="T29" fmla="*/ 33 h 10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9"/>
                <a:gd name="T46" fmla="*/ 0 h 102"/>
                <a:gd name="T47" fmla="*/ 99 w 99"/>
                <a:gd name="T48" fmla="*/ 102 h 10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9" h="102">
                  <a:moveTo>
                    <a:pt x="23" y="62"/>
                  </a:moveTo>
                  <a:lnTo>
                    <a:pt x="59" y="25"/>
                  </a:lnTo>
                  <a:lnTo>
                    <a:pt x="76" y="40"/>
                  </a:lnTo>
                  <a:lnTo>
                    <a:pt x="39" y="78"/>
                  </a:lnTo>
                  <a:lnTo>
                    <a:pt x="23" y="62"/>
                  </a:lnTo>
                  <a:close/>
                  <a:moveTo>
                    <a:pt x="31" y="70"/>
                  </a:moveTo>
                  <a:lnTo>
                    <a:pt x="71" y="77"/>
                  </a:lnTo>
                  <a:lnTo>
                    <a:pt x="0" y="102"/>
                  </a:lnTo>
                  <a:lnTo>
                    <a:pt x="23" y="30"/>
                  </a:lnTo>
                  <a:lnTo>
                    <a:pt x="31" y="70"/>
                  </a:lnTo>
                  <a:close/>
                  <a:moveTo>
                    <a:pt x="67" y="33"/>
                  </a:moveTo>
                  <a:lnTo>
                    <a:pt x="28" y="25"/>
                  </a:lnTo>
                  <a:lnTo>
                    <a:pt x="99" y="0"/>
                  </a:lnTo>
                  <a:lnTo>
                    <a:pt x="76" y="72"/>
                  </a:lnTo>
                  <a:lnTo>
                    <a:pt x="67" y="33"/>
                  </a:lnTo>
                  <a:close/>
                </a:path>
              </a:pathLst>
            </a:custGeom>
            <a:solidFill>
              <a:srgbClr val="2D2D8A"/>
            </a:solidFill>
            <a:ln w="0">
              <a:solidFill>
                <a:srgbClr val="2D2D8A"/>
              </a:solidFill>
              <a:round/>
              <a:headEnd/>
              <a:tailEnd/>
            </a:ln>
          </p:spPr>
          <p:txBody>
            <a:bodyPr/>
            <a:lstStyle/>
            <a:p>
              <a:endParaRPr lang="en-US"/>
            </a:p>
          </p:txBody>
        </p:sp>
        <p:sp>
          <p:nvSpPr>
            <p:cNvPr id="42142" name="Freeform 165"/>
            <p:cNvSpPr>
              <a:spLocks noEditPoints="1"/>
            </p:cNvSpPr>
            <p:nvPr/>
          </p:nvSpPr>
          <p:spPr bwMode="auto">
            <a:xfrm>
              <a:off x="2611" y="2120"/>
              <a:ext cx="391" cy="289"/>
            </a:xfrm>
            <a:custGeom>
              <a:avLst/>
              <a:gdLst>
                <a:gd name="T0" fmla="*/ 29 w 391"/>
                <a:gd name="T1" fmla="*/ 253 h 289"/>
                <a:gd name="T2" fmla="*/ 347 w 391"/>
                <a:gd name="T3" fmla="*/ 18 h 289"/>
                <a:gd name="T4" fmla="*/ 361 w 391"/>
                <a:gd name="T5" fmla="*/ 36 h 289"/>
                <a:gd name="T6" fmla="*/ 43 w 391"/>
                <a:gd name="T7" fmla="*/ 271 h 289"/>
                <a:gd name="T8" fmla="*/ 29 w 391"/>
                <a:gd name="T9" fmla="*/ 253 h 289"/>
                <a:gd name="T10" fmla="*/ 36 w 391"/>
                <a:gd name="T11" fmla="*/ 262 h 289"/>
                <a:gd name="T12" fmla="*/ 74 w 391"/>
                <a:gd name="T13" fmla="*/ 276 h 289"/>
                <a:gd name="T14" fmla="*/ 0 w 391"/>
                <a:gd name="T15" fmla="*/ 289 h 289"/>
                <a:gd name="T16" fmla="*/ 34 w 391"/>
                <a:gd name="T17" fmla="*/ 222 h 289"/>
                <a:gd name="T18" fmla="*/ 36 w 391"/>
                <a:gd name="T19" fmla="*/ 262 h 289"/>
                <a:gd name="T20" fmla="*/ 354 w 391"/>
                <a:gd name="T21" fmla="*/ 27 h 289"/>
                <a:gd name="T22" fmla="*/ 316 w 391"/>
                <a:gd name="T23" fmla="*/ 13 h 289"/>
                <a:gd name="T24" fmla="*/ 391 w 391"/>
                <a:gd name="T25" fmla="*/ 0 h 289"/>
                <a:gd name="T26" fmla="*/ 356 w 391"/>
                <a:gd name="T27" fmla="*/ 67 h 289"/>
                <a:gd name="T28" fmla="*/ 354 w 391"/>
                <a:gd name="T29" fmla="*/ 27 h 2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1"/>
                <a:gd name="T46" fmla="*/ 0 h 289"/>
                <a:gd name="T47" fmla="*/ 391 w 391"/>
                <a:gd name="T48" fmla="*/ 289 h 2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1" h="289">
                  <a:moveTo>
                    <a:pt x="29" y="253"/>
                  </a:moveTo>
                  <a:lnTo>
                    <a:pt x="347" y="18"/>
                  </a:lnTo>
                  <a:lnTo>
                    <a:pt x="361" y="36"/>
                  </a:lnTo>
                  <a:lnTo>
                    <a:pt x="43" y="271"/>
                  </a:lnTo>
                  <a:lnTo>
                    <a:pt x="29" y="253"/>
                  </a:lnTo>
                  <a:close/>
                  <a:moveTo>
                    <a:pt x="36" y="262"/>
                  </a:moveTo>
                  <a:lnTo>
                    <a:pt x="74" y="276"/>
                  </a:lnTo>
                  <a:lnTo>
                    <a:pt x="0" y="289"/>
                  </a:lnTo>
                  <a:lnTo>
                    <a:pt x="34" y="222"/>
                  </a:lnTo>
                  <a:lnTo>
                    <a:pt x="36" y="262"/>
                  </a:lnTo>
                  <a:close/>
                  <a:moveTo>
                    <a:pt x="354" y="27"/>
                  </a:moveTo>
                  <a:lnTo>
                    <a:pt x="316" y="13"/>
                  </a:lnTo>
                  <a:lnTo>
                    <a:pt x="391" y="0"/>
                  </a:lnTo>
                  <a:lnTo>
                    <a:pt x="356" y="67"/>
                  </a:lnTo>
                  <a:lnTo>
                    <a:pt x="354" y="27"/>
                  </a:lnTo>
                  <a:close/>
                </a:path>
              </a:pathLst>
            </a:custGeom>
            <a:solidFill>
              <a:srgbClr val="FFFF00"/>
            </a:solidFill>
            <a:ln w="0">
              <a:solidFill>
                <a:srgbClr val="FFFF00"/>
              </a:solidFill>
              <a:round/>
              <a:headEnd/>
              <a:tailEnd/>
            </a:ln>
          </p:spPr>
          <p:txBody>
            <a:bodyPr/>
            <a:lstStyle/>
            <a:p>
              <a:endParaRPr lang="en-US"/>
            </a:p>
          </p:txBody>
        </p:sp>
        <p:sp>
          <p:nvSpPr>
            <p:cNvPr id="42143" name="Freeform 166"/>
            <p:cNvSpPr>
              <a:spLocks noEditPoints="1"/>
            </p:cNvSpPr>
            <p:nvPr/>
          </p:nvSpPr>
          <p:spPr bwMode="auto">
            <a:xfrm>
              <a:off x="2665" y="2362"/>
              <a:ext cx="482" cy="184"/>
            </a:xfrm>
            <a:custGeom>
              <a:avLst/>
              <a:gdLst>
                <a:gd name="T0" fmla="*/ 39 w 482"/>
                <a:gd name="T1" fmla="*/ 149 h 184"/>
                <a:gd name="T2" fmla="*/ 436 w 482"/>
                <a:gd name="T3" fmla="*/ 14 h 184"/>
                <a:gd name="T4" fmla="*/ 443 w 482"/>
                <a:gd name="T5" fmla="*/ 35 h 184"/>
                <a:gd name="T6" fmla="*/ 46 w 482"/>
                <a:gd name="T7" fmla="*/ 170 h 184"/>
                <a:gd name="T8" fmla="*/ 39 w 482"/>
                <a:gd name="T9" fmla="*/ 149 h 184"/>
                <a:gd name="T10" fmla="*/ 43 w 482"/>
                <a:gd name="T11" fmla="*/ 160 h 184"/>
                <a:gd name="T12" fmla="*/ 75 w 482"/>
                <a:gd name="T13" fmla="*/ 184 h 184"/>
                <a:gd name="T14" fmla="*/ 0 w 482"/>
                <a:gd name="T15" fmla="*/ 174 h 184"/>
                <a:gd name="T16" fmla="*/ 53 w 482"/>
                <a:gd name="T17" fmla="*/ 120 h 184"/>
                <a:gd name="T18" fmla="*/ 43 w 482"/>
                <a:gd name="T19" fmla="*/ 160 h 184"/>
                <a:gd name="T20" fmla="*/ 440 w 482"/>
                <a:gd name="T21" fmla="*/ 25 h 184"/>
                <a:gd name="T22" fmla="*/ 407 w 482"/>
                <a:gd name="T23" fmla="*/ 0 h 184"/>
                <a:gd name="T24" fmla="*/ 482 w 482"/>
                <a:gd name="T25" fmla="*/ 10 h 184"/>
                <a:gd name="T26" fmla="*/ 429 w 482"/>
                <a:gd name="T27" fmla="*/ 64 h 184"/>
                <a:gd name="T28" fmla="*/ 440 w 482"/>
                <a:gd name="T29" fmla="*/ 25 h 18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2"/>
                <a:gd name="T46" fmla="*/ 0 h 184"/>
                <a:gd name="T47" fmla="*/ 482 w 482"/>
                <a:gd name="T48" fmla="*/ 184 h 18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2" h="184">
                  <a:moveTo>
                    <a:pt x="39" y="149"/>
                  </a:moveTo>
                  <a:lnTo>
                    <a:pt x="436" y="14"/>
                  </a:lnTo>
                  <a:lnTo>
                    <a:pt x="443" y="35"/>
                  </a:lnTo>
                  <a:lnTo>
                    <a:pt x="46" y="170"/>
                  </a:lnTo>
                  <a:lnTo>
                    <a:pt x="39" y="149"/>
                  </a:lnTo>
                  <a:close/>
                  <a:moveTo>
                    <a:pt x="43" y="160"/>
                  </a:moveTo>
                  <a:lnTo>
                    <a:pt x="75" y="184"/>
                  </a:lnTo>
                  <a:lnTo>
                    <a:pt x="0" y="174"/>
                  </a:lnTo>
                  <a:lnTo>
                    <a:pt x="53" y="120"/>
                  </a:lnTo>
                  <a:lnTo>
                    <a:pt x="43" y="160"/>
                  </a:lnTo>
                  <a:close/>
                  <a:moveTo>
                    <a:pt x="440" y="25"/>
                  </a:moveTo>
                  <a:lnTo>
                    <a:pt x="407" y="0"/>
                  </a:lnTo>
                  <a:lnTo>
                    <a:pt x="482" y="10"/>
                  </a:lnTo>
                  <a:lnTo>
                    <a:pt x="429" y="64"/>
                  </a:lnTo>
                  <a:lnTo>
                    <a:pt x="440" y="25"/>
                  </a:lnTo>
                  <a:close/>
                </a:path>
              </a:pathLst>
            </a:custGeom>
            <a:solidFill>
              <a:srgbClr val="FFFF00"/>
            </a:solidFill>
            <a:ln w="0">
              <a:solidFill>
                <a:srgbClr val="FFFF00"/>
              </a:solidFill>
              <a:round/>
              <a:headEnd/>
              <a:tailEnd/>
            </a:ln>
          </p:spPr>
          <p:txBody>
            <a:bodyPr/>
            <a:lstStyle/>
            <a:p>
              <a:endParaRPr lang="en-US"/>
            </a:p>
          </p:txBody>
        </p:sp>
        <p:sp>
          <p:nvSpPr>
            <p:cNvPr id="42144" name="Freeform 167"/>
            <p:cNvSpPr>
              <a:spLocks noEditPoints="1"/>
            </p:cNvSpPr>
            <p:nvPr/>
          </p:nvSpPr>
          <p:spPr bwMode="auto">
            <a:xfrm>
              <a:off x="2633" y="2543"/>
              <a:ext cx="825" cy="131"/>
            </a:xfrm>
            <a:custGeom>
              <a:avLst/>
              <a:gdLst>
                <a:gd name="T0" fmla="*/ 44 w 825"/>
                <a:gd name="T1" fmla="*/ 88 h 131"/>
                <a:gd name="T2" fmla="*/ 779 w 825"/>
                <a:gd name="T3" fmla="*/ 20 h 131"/>
                <a:gd name="T4" fmla="*/ 781 w 825"/>
                <a:gd name="T5" fmla="*/ 43 h 131"/>
                <a:gd name="T6" fmla="*/ 46 w 825"/>
                <a:gd name="T7" fmla="*/ 110 h 131"/>
                <a:gd name="T8" fmla="*/ 44 w 825"/>
                <a:gd name="T9" fmla="*/ 88 h 131"/>
                <a:gd name="T10" fmla="*/ 45 w 825"/>
                <a:gd name="T11" fmla="*/ 99 h 131"/>
                <a:gd name="T12" fmla="*/ 71 w 825"/>
                <a:gd name="T13" fmla="*/ 131 h 131"/>
                <a:gd name="T14" fmla="*/ 0 w 825"/>
                <a:gd name="T15" fmla="*/ 103 h 131"/>
                <a:gd name="T16" fmla="*/ 64 w 825"/>
                <a:gd name="T17" fmla="*/ 64 h 131"/>
                <a:gd name="T18" fmla="*/ 45 w 825"/>
                <a:gd name="T19" fmla="*/ 99 h 131"/>
                <a:gd name="T20" fmla="*/ 780 w 825"/>
                <a:gd name="T21" fmla="*/ 31 h 131"/>
                <a:gd name="T22" fmla="*/ 755 w 825"/>
                <a:gd name="T23" fmla="*/ 0 h 131"/>
                <a:gd name="T24" fmla="*/ 825 w 825"/>
                <a:gd name="T25" fmla="*/ 27 h 131"/>
                <a:gd name="T26" fmla="*/ 761 w 825"/>
                <a:gd name="T27" fmla="*/ 67 h 131"/>
                <a:gd name="T28" fmla="*/ 780 w 825"/>
                <a:gd name="T29" fmla="*/ 31 h 1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25"/>
                <a:gd name="T46" fmla="*/ 0 h 131"/>
                <a:gd name="T47" fmla="*/ 825 w 825"/>
                <a:gd name="T48" fmla="*/ 131 h 1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25" h="131">
                  <a:moveTo>
                    <a:pt x="44" y="88"/>
                  </a:moveTo>
                  <a:lnTo>
                    <a:pt x="779" y="20"/>
                  </a:lnTo>
                  <a:lnTo>
                    <a:pt x="781" y="43"/>
                  </a:lnTo>
                  <a:lnTo>
                    <a:pt x="46" y="110"/>
                  </a:lnTo>
                  <a:lnTo>
                    <a:pt x="44" y="88"/>
                  </a:lnTo>
                  <a:close/>
                  <a:moveTo>
                    <a:pt x="45" y="99"/>
                  </a:moveTo>
                  <a:lnTo>
                    <a:pt x="71" y="131"/>
                  </a:lnTo>
                  <a:lnTo>
                    <a:pt x="0" y="103"/>
                  </a:lnTo>
                  <a:lnTo>
                    <a:pt x="64" y="64"/>
                  </a:lnTo>
                  <a:lnTo>
                    <a:pt x="45" y="99"/>
                  </a:lnTo>
                  <a:close/>
                  <a:moveTo>
                    <a:pt x="780" y="31"/>
                  </a:moveTo>
                  <a:lnTo>
                    <a:pt x="755" y="0"/>
                  </a:lnTo>
                  <a:lnTo>
                    <a:pt x="825" y="27"/>
                  </a:lnTo>
                  <a:lnTo>
                    <a:pt x="761" y="67"/>
                  </a:lnTo>
                  <a:lnTo>
                    <a:pt x="780" y="31"/>
                  </a:lnTo>
                  <a:close/>
                </a:path>
              </a:pathLst>
            </a:custGeom>
            <a:solidFill>
              <a:srgbClr val="FFFF00"/>
            </a:solidFill>
            <a:ln w="0">
              <a:solidFill>
                <a:srgbClr val="FFFF00"/>
              </a:solidFill>
              <a:round/>
              <a:headEnd/>
              <a:tailEnd/>
            </a:ln>
          </p:spPr>
          <p:txBody>
            <a:bodyPr/>
            <a:lstStyle/>
            <a:p>
              <a:endParaRPr lang="en-US"/>
            </a:p>
          </p:txBody>
        </p:sp>
        <p:sp>
          <p:nvSpPr>
            <p:cNvPr id="42145" name="Freeform 168"/>
            <p:cNvSpPr>
              <a:spLocks noEditPoints="1"/>
            </p:cNvSpPr>
            <p:nvPr/>
          </p:nvSpPr>
          <p:spPr bwMode="auto">
            <a:xfrm>
              <a:off x="2296" y="2160"/>
              <a:ext cx="101" cy="203"/>
            </a:xfrm>
            <a:custGeom>
              <a:avLst/>
              <a:gdLst>
                <a:gd name="T0" fmla="*/ 71 w 101"/>
                <a:gd name="T1" fmla="*/ 168 h 203"/>
                <a:gd name="T2" fmla="*/ 10 w 101"/>
                <a:gd name="T3" fmla="*/ 46 h 203"/>
                <a:gd name="T4" fmla="*/ 30 w 101"/>
                <a:gd name="T5" fmla="*/ 36 h 203"/>
                <a:gd name="T6" fmla="*/ 91 w 101"/>
                <a:gd name="T7" fmla="*/ 158 h 203"/>
                <a:gd name="T8" fmla="*/ 71 w 101"/>
                <a:gd name="T9" fmla="*/ 168 h 203"/>
                <a:gd name="T10" fmla="*/ 81 w 101"/>
                <a:gd name="T11" fmla="*/ 163 h 203"/>
                <a:gd name="T12" fmla="*/ 101 w 101"/>
                <a:gd name="T13" fmla="*/ 128 h 203"/>
                <a:gd name="T14" fmla="*/ 101 w 101"/>
                <a:gd name="T15" fmla="*/ 203 h 203"/>
                <a:gd name="T16" fmla="*/ 41 w 101"/>
                <a:gd name="T17" fmla="*/ 158 h 203"/>
                <a:gd name="T18" fmla="*/ 81 w 101"/>
                <a:gd name="T19" fmla="*/ 163 h 203"/>
                <a:gd name="T20" fmla="*/ 20 w 101"/>
                <a:gd name="T21" fmla="*/ 41 h 203"/>
                <a:gd name="T22" fmla="*/ 0 w 101"/>
                <a:gd name="T23" fmla="*/ 76 h 203"/>
                <a:gd name="T24" fmla="*/ 0 w 101"/>
                <a:gd name="T25" fmla="*/ 0 h 203"/>
                <a:gd name="T26" fmla="*/ 60 w 101"/>
                <a:gd name="T27" fmla="*/ 46 h 203"/>
                <a:gd name="T28" fmla="*/ 20 w 101"/>
                <a:gd name="T29" fmla="*/ 41 h 20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1"/>
                <a:gd name="T46" fmla="*/ 0 h 203"/>
                <a:gd name="T47" fmla="*/ 101 w 101"/>
                <a:gd name="T48" fmla="*/ 203 h 20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1" h="203">
                  <a:moveTo>
                    <a:pt x="71" y="168"/>
                  </a:moveTo>
                  <a:lnTo>
                    <a:pt x="10" y="46"/>
                  </a:lnTo>
                  <a:lnTo>
                    <a:pt x="30" y="36"/>
                  </a:lnTo>
                  <a:lnTo>
                    <a:pt x="91" y="158"/>
                  </a:lnTo>
                  <a:lnTo>
                    <a:pt x="71" y="168"/>
                  </a:lnTo>
                  <a:close/>
                  <a:moveTo>
                    <a:pt x="81" y="163"/>
                  </a:moveTo>
                  <a:lnTo>
                    <a:pt x="101" y="128"/>
                  </a:lnTo>
                  <a:lnTo>
                    <a:pt x="101" y="203"/>
                  </a:lnTo>
                  <a:lnTo>
                    <a:pt x="41" y="158"/>
                  </a:lnTo>
                  <a:lnTo>
                    <a:pt x="81" y="163"/>
                  </a:lnTo>
                  <a:close/>
                  <a:moveTo>
                    <a:pt x="20" y="41"/>
                  </a:moveTo>
                  <a:lnTo>
                    <a:pt x="0" y="76"/>
                  </a:lnTo>
                  <a:lnTo>
                    <a:pt x="0" y="0"/>
                  </a:lnTo>
                  <a:lnTo>
                    <a:pt x="60" y="46"/>
                  </a:lnTo>
                  <a:lnTo>
                    <a:pt x="20" y="41"/>
                  </a:lnTo>
                  <a:close/>
                </a:path>
              </a:pathLst>
            </a:custGeom>
            <a:solidFill>
              <a:srgbClr val="FFFF00"/>
            </a:solidFill>
            <a:ln w="0">
              <a:solidFill>
                <a:srgbClr val="FFFF00"/>
              </a:solidFill>
              <a:round/>
              <a:headEnd/>
              <a:tailEnd/>
            </a:ln>
          </p:spPr>
          <p:txBody>
            <a:bodyPr/>
            <a:lstStyle/>
            <a:p>
              <a:endParaRPr lang="en-US"/>
            </a:p>
          </p:txBody>
        </p:sp>
        <p:sp>
          <p:nvSpPr>
            <p:cNvPr id="42146" name="Freeform 169"/>
            <p:cNvSpPr>
              <a:spLocks noEditPoints="1"/>
            </p:cNvSpPr>
            <p:nvPr/>
          </p:nvSpPr>
          <p:spPr bwMode="auto">
            <a:xfrm>
              <a:off x="1553" y="1385"/>
              <a:ext cx="169" cy="67"/>
            </a:xfrm>
            <a:custGeom>
              <a:avLst/>
              <a:gdLst>
                <a:gd name="T0" fmla="*/ 124 w 169"/>
                <a:gd name="T1" fmla="*/ 45 h 67"/>
                <a:gd name="T2" fmla="*/ 45 w 169"/>
                <a:gd name="T3" fmla="*/ 44 h 67"/>
                <a:gd name="T4" fmla="*/ 45 w 169"/>
                <a:gd name="T5" fmla="*/ 22 h 67"/>
                <a:gd name="T6" fmla="*/ 124 w 169"/>
                <a:gd name="T7" fmla="*/ 22 h 67"/>
                <a:gd name="T8" fmla="*/ 124 w 169"/>
                <a:gd name="T9" fmla="*/ 45 h 67"/>
                <a:gd name="T10" fmla="*/ 124 w 169"/>
                <a:gd name="T11" fmla="*/ 33 h 67"/>
                <a:gd name="T12" fmla="*/ 101 w 169"/>
                <a:gd name="T13" fmla="*/ 0 h 67"/>
                <a:gd name="T14" fmla="*/ 169 w 169"/>
                <a:gd name="T15" fmla="*/ 34 h 67"/>
                <a:gd name="T16" fmla="*/ 101 w 169"/>
                <a:gd name="T17" fmla="*/ 67 h 67"/>
                <a:gd name="T18" fmla="*/ 124 w 169"/>
                <a:gd name="T19" fmla="*/ 33 h 67"/>
                <a:gd name="T20" fmla="*/ 45 w 169"/>
                <a:gd name="T21" fmla="*/ 33 h 67"/>
                <a:gd name="T22" fmla="*/ 67 w 169"/>
                <a:gd name="T23" fmla="*/ 67 h 67"/>
                <a:gd name="T24" fmla="*/ 0 w 169"/>
                <a:gd name="T25" fmla="*/ 33 h 67"/>
                <a:gd name="T26" fmla="*/ 68 w 169"/>
                <a:gd name="T27" fmla="*/ 0 h 67"/>
                <a:gd name="T28" fmla="*/ 45 w 169"/>
                <a:gd name="T29" fmla="*/ 33 h 6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9"/>
                <a:gd name="T46" fmla="*/ 0 h 67"/>
                <a:gd name="T47" fmla="*/ 169 w 169"/>
                <a:gd name="T48" fmla="*/ 67 h 6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9" h="67">
                  <a:moveTo>
                    <a:pt x="124" y="45"/>
                  </a:moveTo>
                  <a:lnTo>
                    <a:pt x="45" y="44"/>
                  </a:lnTo>
                  <a:lnTo>
                    <a:pt x="45" y="22"/>
                  </a:lnTo>
                  <a:lnTo>
                    <a:pt x="124" y="22"/>
                  </a:lnTo>
                  <a:lnTo>
                    <a:pt x="124" y="45"/>
                  </a:lnTo>
                  <a:close/>
                  <a:moveTo>
                    <a:pt x="124" y="33"/>
                  </a:moveTo>
                  <a:lnTo>
                    <a:pt x="101" y="0"/>
                  </a:lnTo>
                  <a:lnTo>
                    <a:pt x="169" y="34"/>
                  </a:lnTo>
                  <a:lnTo>
                    <a:pt x="101" y="67"/>
                  </a:lnTo>
                  <a:lnTo>
                    <a:pt x="124" y="33"/>
                  </a:lnTo>
                  <a:close/>
                  <a:moveTo>
                    <a:pt x="45" y="33"/>
                  </a:moveTo>
                  <a:lnTo>
                    <a:pt x="67" y="67"/>
                  </a:lnTo>
                  <a:lnTo>
                    <a:pt x="0" y="33"/>
                  </a:lnTo>
                  <a:lnTo>
                    <a:pt x="68" y="0"/>
                  </a:lnTo>
                  <a:lnTo>
                    <a:pt x="45" y="33"/>
                  </a:lnTo>
                  <a:close/>
                </a:path>
              </a:pathLst>
            </a:custGeom>
            <a:solidFill>
              <a:srgbClr val="FFFF00"/>
            </a:solidFill>
            <a:ln w="0">
              <a:solidFill>
                <a:srgbClr val="FFFF00"/>
              </a:solidFill>
              <a:round/>
              <a:headEnd/>
              <a:tailEnd/>
            </a:ln>
          </p:spPr>
          <p:txBody>
            <a:bodyPr/>
            <a:lstStyle/>
            <a:p>
              <a:endParaRPr lang="en-US"/>
            </a:p>
          </p:txBody>
        </p:sp>
        <p:sp>
          <p:nvSpPr>
            <p:cNvPr id="42147" name="Freeform 170"/>
            <p:cNvSpPr>
              <a:spLocks noEditPoints="1"/>
            </p:cNvSpPr>
            <p:nvPr/>
          </p:nvSpPr>
          <p:spPr bwMode="auto">
            <a:xfrm>
              <a:off x="2674" y="739"/>
              <a:ext cx="606" cy="238"/>
            </a:xfrm>
            <a:custGeom>
              <a:avLst/>
              <a:gdLst>
                <a:gd name="T0" fmla="*/ 568 w 606"/>
                <a:gd name="T1" fmla="*/ 34 h 238"/>
                <a:gd name="T2" fmla="*/ 46 w 606"/>
                <a:gd name="T3" fmla="*/ 224 h 238"/>
                <a:gd name="T4" fmla="*/ 38 w 606"/>
                <a:gd name="T5" fmla="*/ 203 h 238"/>
                <a:gd name="T6" fmla="*/ 560 w 606"/>
                <a:gd name="T7" fmla="*/ 13 h 238"/>
                <a:gd name="T8" fmla="*/ 568 w 606"/>
                <a:gd name="T9" fmla="*/ 34 h 238"/>
                <a:gd name="T10" fmla="*/ 564 w 606"/>
                <a:gd name="T11" fmla="*/ 23 h 238"/>
                <a:gd name="T12" fmla="*/ 531 w 606"/>
                <a:gd name="T13" fmla="*/ 0 h 238"/>
                <a:gd name="T14" fmla="*/ 606 w 606"/>
                <a:gd name="T15" fmla="*/ 8 h 238"/>
                <a:gd name="T16" fmla="*/ 554 w 606"/>
                <a:gd name="T17" fmla="*/ 63 h 238"/>
                <a:gd name="T18" fmla="*/ 564 w 606"/>
                <a:gd name="T19" fmla="*/ 23 h 238"/>
                <a:gd name="T20" fmla="*/ 42 w 606"/>
                <a:gd name="T21" fmla="*/ 214 h 238"/>
                <a:gd name="T22" fmla="*/ 75 w 606"/>
                <a:gd name="T23" fmla="*/ 238 h 238"/>
                <a:gd name="T24" fmla="*/ 0 w 606"/>
                <a:gd name="T25" fmla="*/ 229 h 238"/>
                <a:gd name="T26" fmla="*/ 52 w 606"/>
                <a:gd name="T27" fmla="*/ 174 h 238"/>
                <a:gd name="T28" fmla="*/ 42 w 606"/>
                <a:gd name="T29" fmla="*/ 214 h 23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06"/>
                <a:gd name="T46" fmla="*/ 0 h 238"/>
                <a:gd name="T47" fmla="*/ 606 w 606"/>
                <a:gd name="T48" fmla="*/ 238 h 23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06" h="238">
                  <a:moveTo>
                    <a:pt x="568" y="34"/>
                  </a:moveTo>
                  <a:lnTo>
                    <a:pt x="46" y="224"/>
                  </a:lnTo>
                  <a:lnTo>
                    <a:pt x="38" y="203"/>
                  </a:lnTo>
                  <a:lnTo>
                    <a:pt x="560" y="13"/>
                  </a:lnTo>
                  <a:lnTo>
                    <a:pt x="568" y="34"/>
                  </a:lnTo>
                  <a:close/>
                  <a:moveTo>
                    <a:pt x="564" y="23"/>
                  </a:moveTo>
                  <a:lnTo>
                    <a:pt x="531" y="0"/>
                  </a:lnTo>
                  <a:lnTo>
                    <a:pt x="606" y="8"/>
                  </a:lnTo>
                  <a:lnTo>
                    <a:pt x="554" y="63"/>
                  </a:lnTo>
                  <a:lnTo>
                    <a:pt x="564" y="23"/>
                  </a:lnTo>
                  <a:close/>
                  <a:moveTo>
                    <a:pt x="42" y="214"/>
                  </a:moveTo>
                  <a:lnTo>
                    <a:pt x="75" y="238"/>
                  </a:lnTo>
                  <a:lnTo>
                    <a:pt x="0" y="229"/>
                  </a:lnTo>
                  <a:lnTo>
                    <a:pt x="52" y="174"/>
                  </a:lnTo>
                  <a:lnTo>
                    <a:pt x="42" y="214"/>
                  </a:lnTo>
                  <a:close/>
                </a:path>
              </a:pathLst>
            </a:custGeom>
            <a:solidFill>
              <a:srgbClr val="FFFF00"/>
            </a:solidFill>
            <a:ln w="0">
              <a:solidFill>
                <a:srgbClr val="FFFF00"/>
              </a:solidFill>
              <a:round/>
              <a:headEnd/>
              <a:tailEnd/>
            </a:ln>
          </p:spPr>
          <p:txBody>
            <a:bodyPr/>
            <a:lstStyle/>
            <a:p>
              <a:endParaRPr lang="en-US"/>
            </a:p>
          </p:txBody>
        </p:sp>
        <p:sp>
          <p:nvSpPr>
            <p:cNvPr id="42148" name="Freeform 171"/>
            <p:cNvSpPr>
              <a:spLocks noEditPoints="1"/>
            </p:cNvSpPr>
            <p:nvPr/>
          </p:nvSpPr>
          <p:spPr bwMode="auto">
            <a:xfrm>
              <a:off x="3687" y="1215"/>
              <a:ext cx="98" cy="241"/>
            </a:xfrm>
            <a:custGeom>
              <a:avLst/>
              <a:gdLst>
                <a:gd name="T0" fmla="*/ 61 w 98"/>
                <a:gd name="T1" fmla="*/ 201 h 241"/>
                <a:gd name="T2" fmla="*/ 15 w 98"/>
                <a:gd name="T3" fmla="*/ 47 h 241"/>
                <a:gd name="T4" fmla="*/ 37 w 98"/>
                <a:gd name="T5" fmla="*/ 40 h 241"/>
                <a:gd name="T6" fmla="*/ 82 w 98"/>
                <a:gd name="T7" fmla="*/ 194 h 241"/>
                <a:gd name="T8" fmla="*/ 61 w 98"/>
                <a:gd name="T9" fmla="*/ 201 h 241"/>
                <a:gd name="T10" fmla="*/ 71 w 98"/>
                <a:gd name="T11" fmla="*/ 197 h 241"/>
                <a:gd name="T12" fmla="*/ 98 w 98"/>
                <a:gd name="T13" fmla="*/ 166 h 241"/>
                <a:gd name="T14" fmla="*/ 84 w 98"/>
                <a:gd name="T15" fmla="*/ 241 h 241"/>
                <a:gd name="T16" fmla="*/ 33 w 98"/>
                <a:gd name="T17" fmla="*/ 186 h 241"/>
                <a:gd name="T18" fmla="*/ 71 w 98"/>
                <a:gd name="T19" fmla="*/ 197 h 241"/>
                <a:gd name="T20" fmla="*/ 26 w 98"/>
                <a:gd name="T21" fmla="*/ 43 h 241"/>
                <a:gd name="T22" fmla="*/ 0 w 98"/>
                <a:gd name="T23" fmla="*/ 75 h 241"/>
                <a:gd name="T24" fmla="*/ 13 w 98"/>
                <a:gd name="T25" fmla="*/ 0 h 241"/>
                <a:gd name="T26" fmla="*/ 65 w 98"/>
                <a:gd name="T27" fmla="*/ 56 h 241"/>
                <a:gd name="T28" fmla="*/ 26 w 98"/>
                <a:gd name="T29" fmla="*/ 43 h 24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8"/>
                <a:gd name="T46" fmla="*/ 0 h 241"/>
                <a:gd name="T47" fmla="*/ 98 w 98"/>
                <a:gd name="T48" fmla="*/ 241 h 24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8" h="241">
                  <a:moveTo>
                    <a:pt x="61" y="201"/>
                  </a:moveTo>
                  <a:lnTo>
                    <a:pt x="15" y="47"/>
                  </a:lnTo>
                  <a:lnTo>
                    <a:pt x="37" y="40"/>
                  </a:lnTo>
                  <a:lnTo>
                    <a:pt x="82" y="194"/>
                  </a:lnTo>
                  <a:lnTo>
                    <a:pt x="61" y="201"/>
                  </a:lnTo>
                  <a:close/>
                  <a:moveTo>
                    <a:pt x="71" y="197"/>
                  </a:moveTo>
                  <a:lnTo>
                    <a:pt x="98" y="166"/>
                  </a:lnTo>
                  <a:lnTo>
                    <a:pt x="84" y="241"/>
                  </a:lnTo>
                  <a:lnTo>
                    <a:pt x="33" y="186"/>
                  </a:lnTo>
                  <a:lnTo>
                    <a:pt x="71" y="197"/>
                  </a:lnTo>
                  <a:close/>
                  <a:moveTo>
                    <a:pt x="26" y="43"/>
                  </a:moveTo>
                  <a:lnTo>
                    <a:pt x="0" y="75"/>
                  </a:lnTo>
                  <a:lnTo>
                    <a:pt x="13" y="0"/>
                  </a:lnTo>
                  <a:lnTo>
                    <a:pt x="65" y="56"/>
                  </a:lnTo>
                  <a:lnTo>
                    <a:pt x="26" y="43"/>
                  </a:lnTo>
                  <a:close/>
                </a:path>
              </a:pathLst>
            </a:custGeom>
            <a:solidFill>
              <a:srgbClr val="FFFF00"/>
            </a:solidFill>
            <a:ln w="0">
              <a:solidFill>
                <a:srgbClr val="FFFF00"/>
              </a:solidFill>
              <a:round/>
              <a:headEnd/>
              <a:tailEnd/>
            </a:ln>
          </p:spPr>
          <p:txBody>
            <a:bodyPr/>
            <a:lstStyle/>
            <a:p>
              <a:endParaRPr lang="en-US"/>
            </a:p>
          </p:txBody>
        </p:sp>
        <p:sp>
          <p:nvSpPr>
            <p:cNvPr id="42149" name="Freeform 173"/>
            <p:cNvSpPr>
              <a:spLocks noEditPoints="1"/>
            </p:cNvSpPr>
            <p:nvPr/>
          </p:nvSpPr>
          <p:spPr bwMode="auto">
            <a:xfrm>
              <a:off x="3241" y="2039"/>
              <a:ext cx="230" cy="82"/>
            </a:xfrm>
            <a:custGeom>
              <a:avLst/>
              <a:gdLst>
                <a:gd name="T0" fmla="*/ 183 w 230"/>
                <a:gd name="T1" fmla="*/ 63 h 82"/>
                <a:gd name="T2" fmla="*/ 43 w 230"/>
                <a:gd name="T3" fmla="*/ 41 h 82"/>
                <a:gd name="T4" fmla="*/ 46 w 230"/>
                <a:gd name="T5" fmla="*/ 19 h 82"/>
                <a:gd name="T6" fmla="*/ 187 w 230"/>
                <a:gd name="T7" fmla="*/ 41 h 82"/>
                <a:gd name="T8" fmla="*/ 183 w 230"/>
                <a:gd name="T9" fmla="*/ 63 h 82"/>
                <a:gd name="T10" fmla="*/ 185 w 230"/>
                <a:gd name="T11" fmla="*/ 52 h 82"/>
                <a:gd name="T12" fmla="*/ 168 w 230"/>
                <a:gd name="T13" fmla="*/ 15 h 82"/>
                <a:gd name="T14" fmla="*/ 230 w 230"/>
                <a:gd name="T15" fmla="*/ 59 h 82"/>
                <a:gd name="T16" fmla="*/ 158 w 230"/>
                <a:gd name="T17" fmla="*/ 82 h 82"/>
                <a:gd name="T18" fmla="*/ 185 w 230"/>
                <a:gd name="T19" fmla="*/ 52 h 82"/>
                <a:gd name="T20" fmla="*/ 44 w 230"/>
                <a:gd name="T21" fmla="*/ 30 h 82"/>
                <a:gd name="T22" fmla="*/ 62 w 230"/>
                <a:gd name="T23" fmla="*/ 67 h 82"/>
                <a:gd name="T24" fmla="*/ 0 w 230"/>
                <a:gd name="T25" fmla="*/ 22 h 82"/>
                <a:gd name="T26" fmla="*/ 72 w 230"/>
                <a:gd name="T27" fmla="*/ 0 h 82"/>
                <a:gd name="T28" fmla="*/ 44 w 230"/>
                <a:gd name="T29" fmla="*/ 30 h 8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0"/>
                <a:gd name="T46" fmla="*/ 0 h 82"/>
                <a:gd name="T47" fmla="*/ 230 w 230"/>
                <a:gd name="T48" fmla="*/ 82 h 8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0" h="82">
                  <a:moveTo>
                    <a:pt x="183" y="63"/>
                  </a:moveTo>
                  <a:lnTo>
                    <a:pt x="43" y="41"/>
                  </a:lnTo>
                  <a:lnTo>
                    <a:pt x="46" y="19"/>
                  </a:lnTo>
                  <a:lnTo>
                    <a:pt x="187" y="41"/>
                  </a:lnTo>
                  <a:lnTo>
                    <a:pt x="183" y="63"/>
                  </a:lnTo>
                  <a:close/>
                  <a:moveTo>
                    <a:pt x="185" y="52"/>
                  </a:moveTo>
                  <a:lnTo>
                    <a:pt x="168" y="15"/>
                  </a:lnTo>
                  <a:lnTo>
                    <a:pt x="230" y="59"/>
                  </a:lnTo>
                  <a:lnTo>
                    <a:pt x="158" y="82"/>
                  </a:lnTo>
                  <a:lnTo>
                    <a:pt x="185" y="52"/>
                  </a:lnTo>
                  <a:close/>
                  <a:moveTo>
                    <a:pt x="44" y="30"/>
                  </a:moveTo>
                  <a:lnTo>
                    <a:pt x="62" y="67"/>
                  </a:lnTo>
                  <a:lnTo>
                    <a:pt x="0" y="22"/>
                  </a:lnTo>
                  <a:lnTo>
                    <a:pt x="72" y="0"/>
                  </a:lnTo>
                  <a:lnTo>
                    <a:pt x="44" y="30"/>
                  </a:lnTo>
                  <a:close/>
                </a:path>
              </a:pathLst>
            </a:custGeom>
            <a:solidFill>
              <a:srgbClr val="FFFF00"/>
            </a:solidFill>
            <a:ln w="0">
              <a:solidFill>
                <a:srgbClr val="FFFF00"/>
              </a:solidFill>
              <a:round/>
              <a:headEnd/>
              <a:tailEnd/>
            </a:ln>
          </p:spPr>
          <p:txBody>
            <a:bodyPr/>
            <a:lstStyle/>
            <a:p>
              <a:endParaRPr lang="en-US"/>
            </a:p>
          </p:txBody>
        </p:sp>
        <p:sp>
          <p:nvSpPr>
            <p:cNvPr id="42150" name="Freeform 175"/>
            <p:cNvSpPr>
              <a:spLocks noEditPoints="1"/>
            </p:cNvSpPr>
            <p:nvPr/>
          </p:nvSpPr>
          <p:spPr bwMode="auto">
            <a:xfrm>
              <a:off x="3146" y="2129"/>
              <a:ext cx="79" cy="140"/>
            </a:xfrm>
            <a:custGeom>
              <a:avLst/>
              <a:gdLst>
                <a:gd name="T0" fmla="*/ 47 w 79"/>
                <a:gd name="T1" fmla="*/ 106 h 140"/>
                <a:gd name="T2" fmla="*/ 13 w 79"/>
                <a:gd name="T3" fmla="*/ 45 h 140"/>
                <a:gd name="T4" fmla="*/ 32 w 79"/>
                <a:gd name="T5" fmla="*/ 34 h 140"/>
                <a:gd name="T6" fmla="*/ 67 w 79"/>
                <a:gd name="T7" fmla="*/ 95 h 140"/>
                <a:gd name="T8" fmla="*/ 47 w 79"/>
                <a:gd name="T9" fmla="*/ 106 h 140"/>
                <a:gd name="T10" fmla="*/ 57 w 79"/>
                <a:gd name="T11" fmla="*/ 100 h 140"/>
                <a:gd name="T12" fmla="*/ 75 w 79"/>
                <a:gd name="T13" fmla="*/ 64 h 140"/>
                <a:gd name="T14" fmla="*/ 79 w 79"/>
                <a:gd name="T15" fmla="*/ 140 h 140"/>
                <a:gd name="T16" fmla="*/ 16 w 79"/>
                <a:gd name="T17" fmla="*/ 97 h 140"/>
                <a:gd name="T18" fmla="*/ 57 w 79"/>
                <a:gd name="T19" fmla="*/ 100 h 140"/>
                <a:gd name="T20" fmla="*/ 23 w 79"/>
                <a:gd name="T21" fmla="*/ 39 h 140"/>
                <a:gd name="T22" fmla="*/ 4 w 79"/>
                <a:gd name="T23" fmla="*/ 76 h 140"/>
                <a:gd name="T24" fmla="*/ 0 w 79"/>
                <a:gd name="T25" fmla="*/ 0 h 140"/>
                <a:gd name="T26" fmla="*/ 63 w 79"/>
                <a:gd name="T27" fmla="*/ 42 h 140"/>
                <a:gd name="T28" fmla="*/ 23 w 79"/>
                <a:gd name="T29" fmla="*/ 39 h 1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9"/>
                <a:gd name="T46" fmla="*/ 0 h 140"/>
                <a:gd name="T47" fmla="*/ 79 w 79"/>
                <a:gd name="T48" fmla="*/ 140 h 1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9" h="140">
                  <a:moveTo>
                    <a:pt x="47" y="106"/>
                  </a:moveTo>
                  <a:lnTo>
                    <a:pt x="13" y="45"/>
                  </a:lnTo>
                  <a:lnTo>
                    <a:pt x="32" y="34"/>
                  </a:lnTo>
                  <a:lnTo>
                    <a:pt x="67" y="95"/>
                  </a:lnTo>
                  <a:lnTo>
                    <a:pt x="47" y="106"/>
                  </a:lnTo>
                  <a:close/>
                  <a:moveTo>
                    <a:pt x="57" y="100"/>
                  </a:moveTo>
                  <a:lnTo>
                    <a:pt x="75" y="64"/>
                  </a:lnTo>
                  <a:lnTo>
                    <a:pt x="79" y="140"/>
                  </a:lnTo>
                  <a:lnTo>
                    <a:pt x="16" y="97"/>
                  </a:lnTo>
                  <a:lnTo>
                    <a:pt x="57" y="100"/>
                  </a:lnTo>
                  <a:close/>
                  <a:moveTo>
                    <a:pt x="23" y="39"/>
                  </a:moveTo>
                  <a:lnTo>
                    <a:pt x="4" y="76"/>
                  </a:lnTo>
                  <a:lnTo>
                    <a:pt x="0" y="0"/>
                  </a:lnTo>
                  <a:lnTo>
                    <a:pt x="63" y="42"/>
                  </a:lnTo>
                  <a:lnTo>
                    <a:pt x="23" y="39"/>
                  </a:lnTo>
                  <a:close/>
                </a:path>
              </a:pathLst>
            </a:custGeom>
            <a:solidFill>
              <a:srgbClr val="7F7F7F"/>
            </a:solidFill>
            <a:ln w="0">
              <a:solidFill>
                <a:srgbClr val="7F7F7F"/>
              </a:solidFill>
              <a:round/>
              <a:headEnd/>
              <a:tailEnd/>
            </a:ln>
          </p:spPr>
          <p:txBody>
            <a:bodyPr/>
            <a:lstStyle/>
            <a:p>
              <a:endParaRPr lang="en-US"/>
            </a:p>
          </p:txBody>
        </p:sp>
        <p:sp>
          <p:nvSpPr>
            <p:cNvPr id="42151" name="Freeform 178"/>
            <p:cNvSpPr>
              <a:spLocks/>
            </p:cNvSpPr>
            <p:nvPr/>
          </p:nvSpPr>
          <p:spPr bwMode="auto">
            <a:xfrm>
              <a:off x="3610" y="2939"/>
              <a:ext cx="104" cy="104"/>
            </a:xfrm>
            <a:custGeom>
              <a:avLst/>
              <a:gdLst>
                <a:gd name="T0" fmla="*/ 0 w 368"/>
                <a:gd name="T1" fmla="*/ 4 h 368"/>
                <a:gd name="T2" fmla="*/ 4 w 368"/>
                <a:gd name="T3" fmla="*/ 0 h 368"/>
                <a:gd name="T4" fmla="*/ 4 w 368"/>
                <a:gd name="T5" fmla="*/ 0 h 368"/>
                <a:gd name="T6" fmla="*/ 4 w 368"/>
                <a:gd name="T7" fmla="*/ 0 h 368"/>
                <a:gd name="T8" fmla="*/ 8 w 368"/>
                <a:gd name="T9" fmla="*/ 4 h 368"/>
                <a:gd name="T10" fmla="*/ 8 w 368"/>
                <a:gd name="T11" fmla="*/ 4 h 368"/>
                <a:gd name="T12" fmla="*/ 8 w 368"/>
                <a:gd name="T13" fmla="*/ 4 h 368"/>
                <a:gd name="T14" fmla="*/ 4 w 368"/>
                <a:gd name="T15" fmla="*/ 8 h 368"/>
                <a:gd name="T16" fmla="*/ 4 w 368"/>
                <a:gd name="T17" fmla="*/ 8 h 368"/>
                <a:gd name="T18" fmla="*/ 4 w 368"/>
                <a:gd name="T19" fmla="*/ 8 h 368"/>
                <a:gd name="T20" fmla="*/ 0 w 368"/>
                <a:gd name="T21" fmla="*/ 4 h 368"/>
                <a:gd name="T22" fmla="*/ 0 w 368"/>
                <a:gd name="T23" fmla="*/ 4 h 3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8"/>
                <a:gd name="T37" fmla="*/ 0 h 368"/>
                <a:gd name="T38" fmla="*/ 368 w 368"/>
                <a:gd name="T39" fmla="*/ 368 h 36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8" h="368">
                  <a:moveTo>
                    <a:pt x="0" y="184"/>
                  </a:moveTo>
                  <a:cubicBezTo>
                    <a:pt x="0" y="83"/>
                    <a:pt x="83" y="0"/>
                    <a:pt x="184" y="0"/>
                  </a:cubicBezTo>
                  <a:cubicBezTo>
                    <a:pt x="184" y="0"/>
                    <a:pt x="184" y="0"/>
                    <a:pt x="184" y="0"/>
                  </a:cubicBezTo>
                  <a:cubicBezTo>
                    <a:pt x="286" y="0"/>
                    <a:pt x="368" y="83"/>
                    <a:pt x="368" y="184"/>
                  </a:cubicBezTo>
                  <a:cubicBezTo>
                    <a:pt x="368" y="184"/>
                    <a:pt x="368" y="184"/>
                    <a:pt x="368" y="184"/>
                  </a:cubicBezTo>
                  <a:cubicBezTo>
                    <a:pt x="368" y="286"/>
                    <a:pt x="286" y="368"/>
                    <a:pt x="184" y="368"/>
                  </a:cubicBezTo>
                  <a:cubicBezTo>
                    <a:pt x="184" y="368"/>
                    <a:pt x="184" y="368"/>
                    <a:pt x="184" y="368"/>
                  </a:cubicBezTo>
                  <a:cubicBezTo>
                    <a:pt x="83" y="368"/>
                    <a:pt x="0" y="286"/>
                    <a:pt x="0" y="184"/>
                  </a:cubicBezTo>
                  <a:cubicBezTo>
                    <a:pt x="0" y="184"/>
                    <a:pt x="0" y="184"/>
                    <a:pt x="0" y="184"/>
                  </a:cubicBezTo>
                  <a:close/>
                </a:path>
              </a:pathLst>
            </a:custGeom>
            <a:solidFill>
              <a:srgbClr val="FF0000"/>
            </a:solidFill>
            <a:ln w="0">
              <a:solidFill>
                <a:srgbClr val="000000"/>
              </a:solidFill>
              <a:round/>
              <a:headEnd/>
              <a:tailEnd/>
            </a:ln>
          </p:spPr>
          <p:txBody>
            <a:bodyPr/>
            <a:lstStyle/>
            <a:p>
              <a:endParaRPr lang="en-US"/>
            </a:p>
          </p:txBody>
        </p:sp>
        <p:sp>
          <p:nvSpPr>
            <p:cNvPr id="42152" name="Freeform 179"/>
            <p:cNvSpPr>
              <a:spLocks noEditPoints="1"/>
            </p:cNvSpPr>
            <p:nvPr/>
          </p:nvSpPr>
          <p:spPr bwMode="auto">
            <a:xfrm>
              <a:off x="3608" y="2937"/>
              <a:ext cx="108" cy="108"/>
            </a:xfrm>
            <a:custGeom>
              <a:avLst/>
              <a:gdLst>
                <a:gd name="T0" fmla="*/ 0 w 384"/>
                <a:gd name="T1" fmla="*/ 3 h 384"/>
                <a:gd name="T2" fmla="*/ 0 w 384"/>
                <a:gd name="T3" fmla="*/ 3 h 384"/>
                <a:gd name="T4" fmla="*/ 1 w 384"/>
                <a:gd name="T5" fmla="*/ 1 h 384"/>
                <a:gd name="T6" fmla="*/ 2 w 384"/>
                <a:gd name="T7" fmla="*/ 1 h 384"/>
                <a:gd name="T8" fmla="*/ 3 w 384"/>
                <a:gd name="T9" fmla="*/ 0 h 384"/>
                <a:gd name="T10" fmla="*/ 4 w 384"/>
                <a:gd name="T11" fmla="*/ 0 h 384"/>
                <a:gd name="T12" fmla="*/ 6 w 384"/>
                <a:gd name="T13" fmla="*/ 0 h 384"/>
                <a:gd name="T14" fmla="*/ 7 w 384"/>
                <a:gd name="T15" fmla="*/ 1 h 384"/>
                <a:gd name="T16" fmla="*/ 8 w 384"/>
                <a:gd name="T17" fmla="*/ 2 h 384"/>
                <a:gd name="T18" fmla="*/ 8 w 384"/>
                <a:gd name="T19" fmla="*/ 3 h 384"/>
                <a:gd name="T20" fmla="*/ 8 w 384"/>
                <a:gd name="T21" fmla="*/ 4 h 384"/>
                <a:gd name="T22" fmla="*/ 8 w 384"/>
                <a:gd name="T23" fmla="*/ 5 h 384"/>
                <a:gd name="T24" fmla="*/ 8 w 384"/>
                <a:gd name="T25" fmla="*/ 7 h 384"/>
                <a:gd name="T26" fmla="*/ 7 w 384"/>
                <a:gd name="T27" fmla="*/ 7 h 384"/>
                <a:gd name="T28" fmla="*/ 6 w 384"/>
                <a:gd name="T29" fmla="*/ 8 h 384"/>
                <a:gd name="T30" fmla="*/ 5 w 384"/>
                <a:gd name="T31" fmla="*/ 8 h 384"/>
                <a:gd name="T32" fmla="*/ 3 w 384"/>
                <a:gd name="T33" fmla="*/ 8 h 384"/>
                <a:gd name="T34" fmla="*/ 3 w 384"/>
                <a:gd name="T35" fmla="*/ 8 h 384"/>
                <a:gd name="T36" fmla="*/ 1 w 384"/>
                <a:gd name="T37" fmla="*/ 7 h 384"/>
                <a:gd name="T38" fmla="*/ 1 w 384"/>
                <a:gd name="T39" fmla="*/ 7 h 384"/>
                <a:gd name="T40" fmla="*/ 0 w 384"/>
                <a:gd name="T41" fmla="*/ 5 h 384"/>
                <a:gd name="T42" fmla="*/ 1 w 384"/>
                <a:gd name="T43" fmla="*/ 5 h 384"/>
                <a:gd name="T44" fmla="*/ 1 w 384"/>
                <a:gd name="T45" fmla="*/ 6 h 384"/>
                <a:gd name="T46" fmla="*/ 1 w 384"/>
                <a:gd name="T47" fmla="*/ 7 h 384"/>
                <a:gd name="T48" fmla="*/ 2 w 384"/>
                <a:gd name="T49" fmla="*/ 8 h 384"/>
                <a:gd name="T50" fmla="*/ 3 w 384"/>
                <a:gd name="T51" fmla="*/ 8 h 384"/>
                <a:gd name="T52" fmla="*/ 4 w 384"/>
                <a:gd name="T53" fmla="*/ 8 h 384"/>
                <a:gd name="T54" fmla="*/ 6 w 384"/>
                <a:gd name="T55" fmla="*/ 8 h 384"/>
                <a:gd name="T56" fmla="*/ 6 w 384"/>
                <a:gd name="T57" fmla="*/ 8 h 384"/>
                <a:gd name="T58" fmla="*/ 8 w 384"/>
                <a:gd name="T59" fmla="*/ 6 h 384"/>
                <a:gd name="T60" fmla="*/ 8 w 384"/>
                <a:gd name="T61" fmla="*/ 6 h 384"/>
                <a:gd name="T62" fmla="*/ 8 w 384"/>
                <a:gd name="T63" fmla="*/ 4 h 384"/>
                <a:gd name="T64" fmla="*/ 8 w 384"/>
                <a:gd name="T65" fmla="*/ 3 h 384"/>
                <a:gd name="T66" fmla="*/ 8 w 384"/>
                <a:gd name="T67" fmla="*/ 2 h 384"/>
                <a:gd name="T68" fmla="*/ 7 w 384"/>
                <a:gd name="T69" fmla="*/ 1 h 384"/>
                <a:gd name="T70" fmla="*/ 6 w 384"/>
                <a:gd name="T71" fmla="*/ 1 h 384"/>
                <a:gd name="T72" fmla="*/ 5 w 384"/>
                <a:gd name="T73" fmla="*/ 1 h 384"/>
                <a:gd name="T74" fmla="*/ 3 w 384"/>
                <a:gd name="T75" fmla="*/ 1 h 384"/>
                <a:gd name="T76" fmla="*/ 3 w 384"/>
                <a:gd name="T77" fmla="*/ 1 h 384"/>
                <a:gd name="T78" fmla="*/ 1 w 384"/>
                <a:gd name="T79" fmla="*/ 1 h 384"/>
                <a:gd name="T80" fmla="*/ 1 w 384"/>
                <a:gd name="T81" fmla="*/ 2 h 384"/>
                <a:gd name="T82" fmla="*/ 1 w 384"/>
                <a:gd name="T83" fmla="*/ 3 h 384"/>
                <a:gd name="T84" fmla="*/ 0 w 384"/>
                <a:gd name="T85" fmla="*/ 4 h 38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84"/>
                <a:gd name="T130" fmla="*/ 0 h 384"/>
                <a:gd name="T131" fmla="*/ 384 w 384"/>
                <a:gd name="T132" fmla="*/ 384 h 38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84" h="384">
                  <a:moveTo>
                    <a:pt x="1" y="193"/>
                  </a:moveTo>
                  <a:cubicBezTo>
                    <a:pt x="0" y="193"/>
                    <a:pt x="0" y="192"/>
                    <a:pt x="1" y="192"/>
                  </a:cubicBezTo>
                  <a:lnTo>
                    <a:pt x="5" y="155"/>
                  </a:lnTo>
                  <a:cubicBezTo>
                    <a:pt x="5" y="154"/>
                    <a:pt x="5" y="154"/>
                    <a:pt x="5" y="153"/>
                  </a:cubicBezTo>
                  <a:lnTo>
                    <a:pt x="16" y="119"/>
                  </a:lnTo>
                  <a:cubicBezTo>
                    <a:pt x="16" y="119"/>
                    <a:pt x="16" y="118"/>
                    <a:pt x="16" y="118"/>
                  </a:cubicBezTo>
                  <a:lnTo>
                    <a:pt x="33" y="86"/>
                  </a:lnTo>
                  <a:cubicBezTo>
                    <a:pt x="34" y="85"/>
                    <a:pt x="34" y="85"/>
                    <a:pt x="34" y="84"/>
                  </a:cubicBezTo>
                  <a:lnTo>
                    <a:pt x="56" y="57"/>
                  </a:lnTo>
                  <a:cubicBezTo>
                    <a:pt x="57" y="57"/>
                    <a:pt x="57" y="57"/>
                    <a:pt x="57" y="56"/>
                  </a:cubicBezTo>
                  <a:lnTo>
                    <a:pt x="84" y="34"/>
                  </a:lnTo>
                  <a:cubicBezTo>
                    <a:pt x="85" y="34"/>
                    <a:pt x="85" y="34"/>
                    <a:pt x="86" y="33"/>
                  </a:cubicBezTo>
                  <a:lnTo>
                    <a:pt x="118" y="16"/>
                  </a:lnTo>
                  <a:cubicBezTo>
                    <a:pt x="118" y="16"/>
                    <a:pt x="119" y="16"/>
                    <a:pt x="119" y="16"/>
                  </a:cubicBezTo>
                  <a:lnTo>
                    <a:pt x="153" y="5"/>
                  </a:lnTo>
                  <a:cubicBezTo>
                    <a:pt x="154" y="5"/>
                    <a:pt x="154" y="5"/>
                    <a:pt x="155" y="5"/>
                  </a:cubicBezTo>
                  <a:lnTo>
                    <a:pt x="192" y="1"/>
                  </a:lnTo>
                  <a:cubicBezTo>
                    <a:pt x="192" y="0"/>
                    <a:pt x="193" y="0"/>
                    <a:pt x="193" y="1"/>
                  </a:cubicBezTo>
                  <a:lnTo>
                    <a:pt x="230" y="5"/>
                  </a:lnTo>
                  <a:cubicBezTo>
                    <a:pt x="231" y="5"/>
                    <a:pt x="231" y="5"/>
                    <a:pt x="232" y="5"/>
                  </a:cubicBezTo>
                  <a:lnTo>
                    <a:pt x="267" y="16"/>
                  </a:lnTo>
                  <a:cubicBezTo>
                    <a:pt x="267" y="16"/>
                    <a:pt x="268" y="16"/>
                    <a:pt x="268" y="16"/>
                  </a:cubicBezTo>
                  <a:lnTo>
                    <a:pt x="299" y="33"/>
                  </a:lnTo>
                  <a:cubicBezTo>
                    <a:pt x="300" y="34"/>
                    <a:pt x="300" y="34"/>
                    <a:pt x="301" y="34"/>
                  </a:cubicBezTo>
                  <a:lnTo>
                    <a:pt x="328" y="56"/>
                  </a:lnTo>
                  <a:cubicBezTo>
                    <a:pt x="328" y="57"/>
                    <a:pt x="328" y="57"/>
                    <a:pt x="329" y="57"/>
                  </a:cubicBezTo>
                  <a:lnTo>
                    <a:pt x="352" y="84"/>
                  </a:lnTo>
                  <a:cubicBezTo>
                    <a:pt x="352" y="85"/>
                    <a:pt x="352" y="85"/>
                    <a:pt x="353" y="86"/>
                  </a:cubicBezTo>
                  <a:lnTo>
                    <a:pt x="370" y="118"/>
                  </a:lnTo>
                  <a:cubicBezTo>
                    <a:pt x="370" y="118"/>
                    <a:pt x="370" y="119"/>
                    <a:pt x="370" y="119"/>
                  </a:cubicBezTo>
                  <a:lnTo>
                    <a:pt x="380" y="153"/>
                  </a:lnTo>
                  <a:cubicBezTo>
                    <a:pt x="380" y="154"/>
                    <a:pt x="380" y="154"/>
                    <a:pt x="380" y="155"/>
                  </a:cubicBezTo>
                  <a:lnTo>
                    <a:pt x="384" y="192"/>
                  </a:lnTo>
                  <a:cubicBezTo>
                    <a:pt x="384" y="192"/>
                    <a:pt x="384" y="193"/>
                    <a:pt x="384" y="193"/>
                  </a:cubicBezTo>
                  <a:lnTo>
                    <a:pt x="380" y="230"/>
                  </a:lnTo>
                  <a:cubicBezTo>
                    <a:pt x="380" y="231"/>
                    <a:pt x="380" y="231"/>
                    <a:pt x="380" y="232"/>
                  </a:cubicBezTo>
                  <a:lnTo>
                    <a:pt x="370" y="267"/>
                  </a:lnTo>
                  <a:cubicBezTo>
                    <a:pt x="370" y="267"/>
                    <a:pt x="370" y="268"/>
                    <a:pt x="369" y="268"/>
                  </a:cubicBezTo>
                  <a:lnTo>
                    <a:pt x="352" y="299"/>
                  </a:lnTo>
                  <a:cubicBezTo>
                    <a:pt x="352" y="300"/>
                    <a:pt x="352" y="300"/>
                    <a:pt x="352" y="301"/>
                  </a:cubicBezTo>
                  <a:lnTo>
                    <a:pt x="329" y="328"/>
                  </a:lnTo>
                  <a:cubicBezTo>
                    <a:pt x="328" y="328"/>
                    <a:pt x="328" y="328"/>
                    <a:pt x="328" y="329"/>
                  </a:cubicBezTo>
                  <a:lnTo>
                    <a:pt x="301" y="352"/>
                  </a:lnTo>
                  <a:cubicBezTo>
                    <a:pt x="300" y="352"/>
                    <a:pt x="300" y="352"/>
                    <a:pt x="299" y="352"/>
                  </a:cubicBezTo>
                  <a:lnTo>
                    <a:pt x="268" y="369"/>
                  </a:lnTo>
                  <a:cubicBezTo>
                    <a:pt x="268" y="370"/>
                    <a:pt x="267" y="370"/>
                    <a:pt x="267" y="370"/>
                  </a:cubicBezTo>
                  <a:lnTo>
                    <a:pt x="232" y="380"/>
                  </a:lnTo>
                  <a:cubicBezTo>
                    <a:pt x="231" y="380"/>
                    <a:pt x="231" y="380"/>
                    <a:pt x="230" y="380"/>
                  </a:cubicBezTo>
                  <a:lnTo>
                    <a:pt x="193" y="384"/>
                  </a:lnTo>
                  <a:cubicBezTo>
                    <a:pt x="193" y="384"/>
                    <a:pt x="192" y="384"/>
                    <a:pt x="192" y="384"/>
                  </a:cubicBezTo>
                  <a:lnTo>
                    <a:pt x="155" y="380"/>
                  </a:lnTo>
                  <a:cubicBezTo>
                    <a:pt x="154" y="380"/>
                    <a:pt x="154" y="380"/>
                    <a:pt x="153" y="380"/>
                  </a:cubicBezTo>
                  <a:lnTo>
                    <a:pt x="119" y="370"/>
                  </a:lnTo>
                  <a:cubicBezTo>
                    <a:pt x="119" y="370"/>
                    <a:pt x="118" y="370"/>
                    <a:pt x="118" y="370"/>
                  </a:cubicBezTo>
                  <a:lnTo>
                    <a:pt x="86" y="353"/>
                  </a:lnTo>
                  <a:cubicBezTo>
                    <a:pt x="85" y="352"/>
                    <a:pt x="85" y="352"/>
                    <a:pt x="84" y="352"/>
                  </a:cubicBezTo>
                  <a:lnTo>
                    <a:pt x="57" y="329"/>
                  </a:lnTo>
                  <a:cubicBezTo>
                    <a:pt x="57" y="328"/>
                    <a:pt x="57" y="328"/>
                    <a:pt x="56" y="328"/>
                  </a:cubicBezTo>
                  <a:lnTo>
                    <a:pt x="34" y="301"/>
                  </a:lnTo>
                  <a:cubicBezTo>
                    <a:pt x="34" y="300"/>
                    <a:pt x="34" y="300"/>
                    <a:pt x="33" y="299"/>
                  </a:cubicBezTo>
                  <a:lnTo>
                    <a:pt x="16" y="268"/>
                  </a:lnTo>
                  <a:cubicBezTo>
                    <a:pt x="16" y="268"/>
                    <a:pt x="16" y="267"/>
                    <a:pt x="16" y="267"/>
                  </a:cubicBezTo>
                  <a:lnTo>
                    <a:pt x="5" y="232"/>
                  </a:lnTo>
                  <a:cubicBezTo>
                    <a:pt x="5" y="231"/>
                    <a:pt x="5" y="231"/>
                    <a:pt x="5" y="230"/>
                  </a:cubicBezTo>
                  <a:lnTo>
                    <a:pt x="1" y="193"/>
                  </a:lnTo>
                  <a:close/>
                  <a:moveTo>
                    <a:pt x="20" y="229"/>
                  </a:moveTo>
                  <a:lnTo>
                    <a:pt x="20" y="227"/>
                  </a:lnTo>
                  <a:lnTo>
                    <a:pt x="31" y="262"/>
                  </a:lnTo>
                  <a:lnTo>
                    <a:pt x="30" y="261"/>
                  </a:lnTo>
                  <a:lnTo>
                    <a:pt x="47" y="292"/>
                  </a:lnTo>
                  <a:lnTo>
                    <a:pt x="47" y="290"/>
                  </a:lnTo>
                  <a:lnTo>
                    <a:pt x="69" y="317"/>
                  </a:lnTo>
                  <a:lnTo>
                    <a:pt x="68" y="316"/>
                  </a:lnTo>
                  <a:lnTo>
                    <a:pt x="95" y="339"/>
                  </a:lnTo>
                  <a:lnTo>
                    <a:pt x="93" y="338"/>
                  </a:lnTo>
                  <a:lnTo>
                    <a:pt x="125" y="355"/>
                  </a:lnTo>
                  <a:lnTo>
                    <a:pt x="124" y="355"/>
                  </a:lnTo>
                  <a:lnTo>
                    <a:pt x="158" y="365"/>
                  </a:lnTo>
                  <a:lnTo>
                    <a:pt x="156" y="365"/>
                  </a:lnTo>
                  <a:lnTo>
                    <a:pt x="193" y="369"/>
                  </a:lnTo>
                  <a:lnTo>
                    <a:pt x="192" y="369"/>
                  </a:lnTo>
                  <a:lnTo>
                    <a:pt x="229" y="365"/>
                  </a:lnTo>
                  <a:lnTo>
                    <a:pt x="227" y="365"/>
                  </a:lnTo>
                  <a:lnTo>
                    <a:pt x="262" y="355"/>
                  </a:lnTo>
                  <a:lnTo>
                    <a:pt x="261" y="355"/>
                  </a:lnTo>
                  <a:lnTo>
                    <a:pt x="292" y="338"/>
                  </a:lnTo>
                  <a:lnTo>
                    <a:pt x="290" y="339"/>
                  </a:lnTo>
                  <a:lnTo>
                    <a:pt x="317" y="316"/>
                  </a:lnTo>
                  <a:lnTo>
                    <a:pt x="316" y="317"/>
                  </a:lnTo>
                  <a:lnTo>
                    <a:pt x="339" y="290"/>
                  </a:lnTo>
                  <a:lnTo>
                    <a:pt x="338" y="292"/>
                  </a:lnTo>
                  <a:lnTo>
                    <a:pt x="355" y="261"/>
                  </a:lnTo>
                  <a:lnTo>
                    <a:pt x="355" y="262"/>
                  </a:lnTo>
                  <a:lnTo>
                    <a:pt x="365" y="227"/>
                  </a:lnTo>
                  <a:lnTo>
                    <a:pt x="365" y="229"/>
                  </a:lnTo>
                  <a:lnTo>
                    <a:pt x="369" y="192"/>
                  </a:lnTo>
                  <a:lnTo>
                    <a:pt x="369" y="193"/>
                  </a:lnTo>
                  <a:lnTo>
                    <a:pt x="365" y="156"/>
                  </a:lnTo>
                  <a:lnTo>
                    <a:pt x="365" y="158"/>
                  </a:lnTo>
                  <a:lnTo>
                    <a:pt x="355" y="124"/>
                  </a:lnTo>
                  <a:lnTo>
                    <a:pt x="355" y="125"/>
                  </a:lnTo>
                  <a:lnTo>
                    <a:pt x="338" y="93"/>
                  </a:lnTo>
                  <a:lnTo>
                    <a:pt x="339" y="95"/>
                  </a:lnTo>
                  <a:lnTo>
                    <a:pt x="316" y="68"/>
                  </a:lnTo>
                  <a:lnTo>
                    <a:pt x="317" y="69"/>
                  </a:lnTo>
                  <a:lnTo>
                    <a:pt x="290" y="47"/>
                  </a:lnTo>
                  <a:lnTo>
                    <a:pt x="292" y="47"/>
                  </a:lnTo>
                  <a:lnTo>
                    <a:pt x="261" y="30"/>
                  </a:lnTo>
                  <a:lnTo>
                    <a:pt x="262" y="31"/>
                  </a:lnTo>
                  <a:lnTo>
                    <a:pt x="227" y="20"/>
                  </a:lnTo>
                  <a:lnTo>
                    <a:pt x="229" y="20"/>
                  </a:lnTo>
                  <a:lnTo>
                    <a:pt x="192" y="16"/>
                  </a:lnTo>
                  <a:lnTo>
                    <a:pt x="193" y="16"/>
                  </a:lnTo>
                  <a:lnTo>
                    <a:pt x="156" y="20"/>
                  </a:lnTo>
                  <a:lnTo>
                    <a:pt x="158" y="20"/>
                  </a:lnTo>
                  <a:lnTo>
                    <a:pt x="124" y="31"/>
                  </a:lnTo>
                  <a:lnTo>
                    <a:pt x="125" y="31"/>
                  </a:lnTo>
                  <a:lnTo>
                    <a:pt x="93" y="48"/>
                  </a:lnTo>
                  <a:lnTo>
                    <a:pt x="95" y="47"/>
                  </a:lnTo>
                  <a:lnTo>
                    <a:pt x="68" y="69"/>
                  </a:lnTo>
                  <a:lnTo>
                    <a:pt x="69" y="68"/>
                  </a:lnTo>
                  <a:lnTo>
                    <a:pt x="47" y="95"/>
                  </a:lnTo>
                  <a:lnTo>
                    <a:pt x="48" y="93"/>
                  </a:lnTo>
                  <a:lnTo>
                    <a:pt x="31" y="125"/>
                  </a:lnTo>
                  <a:lnTo>
                    <a:pt x="31" y="124"/>
                  </a:lnTo>
                  <a:lnTo>
                    <a:pt x="20" y="158"/>
                  </a:lnTo>
                  <a:lnTo>
                    <a:pt x="20" y="156"/>
                  </a:lnTo>
                  <a:lnTo>
                    <a:pt x="16" y="193"/>
                  </a:lnTo>
                  <a:lnTo>
                    <a:pt x="16" y="192"/>
                  </a:lnTo>
                  <a:lnTo>
                    <a:pt x="20" y="229"/>
                  </a:lnTo>
                  <a:close/>
                </a:path>
              </a:pathLst>
            </a:custGeom>
            <a:solidFill>
              <a:srgbClr val="000000"/>
            </a:solidFill>
            <a:ln w="0">
              <a:solidFill>
                <a:srgbClr val="000000"/>
              </a:solidFill>
              <a:round/>
              <a:headEnd/>
              <a:tailEnd/>
            </a:ln>
          </p:spPr>
          <p:txBody>
            <a:bodyPr/>
            <a:lstStyle/>
            <a:p>
              <a:endParaRPr lang="en-US"/>
            </a:p>
          </p:txBody>
        </p:sp>
        <p:sp>
          <p:nvSpPr>
            <p:cNvPr id="42153" name="Freeform 180"/>
            <p:cNvSpPr>
              <a:spLocks/>
            </p:cNvSpPr>
            <p:nvPr/>
          </p:nvSpPr>
          <p:spPr bwMode="auto">
            <a:xfrm>
              <a:off x="3610" y="3203"/>
              <a:ext cx="104" cy="104"/>
            </a:xfrm>
            <a:custGeom>
              <a:avLst/>
              <a:gdLst>
                <a:gd name="T0" fmla="*/ 0 w 368"/>
                <a:gd name="T1" fmla="*/ 4 h 368"/>
                <a:gd name="T2" fmla="*/ 4 w 368"/>
                <a:gd name="T3" fmla="*/ 0 h 368"/>
                <a:gd name="T4" fmla="*/ 4 w 368"/>
                <a:gd name="T5" fmla="*/ 0 h 368"/>
                <a:gd name="T6" fmla="*/ 4 w 368"/>
                <a:gd name="T7" fmla="*/ 0 h 368"/>
                <a:gd name="T8" fmla="*/ 8 w 368"/>
                <a:gd name="T9" fmla="*/ 4 h 368"/>
                <a:gd name="T10" fmla="*/ 8 w 368"/>
                <a:gd name="T11" fmla="*/ 4 h 368"/>
                <a:gd name="T12" fmla="*/ 8 w 368"/>
                <a:gd name="T13" fmla="*/ 4 h 368"/>
                <a:gd name="T14" fmla="*/ 4 w 368"/>
                <a:gd name="T15" fmla="*/ 8 h 368"/>
                <a:gd name="T16" fmla="*/ 4 w 368"/>
                <a:gd name="T17" fmla="*/ 8 h 368"/>
                <a:gd name="T18" fmla="*/ 4 w 368"/>
                <a:gd name="T19" fmla="*/ 8 h 368"/>
                <a:gd name="T20" fmla="*/ 0 w 368"/>
                <a:gd name="T21" fmla="*/ 4 h 368"/>
                <a:gd name="T22" fmla="*/ 0 w 368"/>
                <a:gd name="T23" fmla="*/ 4 h 3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8"/>
                <a:gd name="T37" fmla="*/ 0 h 368"/>
                <a:gd name="T38" fmla="*/ 368 w 368"/>
                <a:gd name="T39" fmla="*/ 368 h 36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8" h="368">
                  <a:moveTo>
                    <a:pt x="0" y="184"/>
                  </a:moveTo>
                  <a:cubicBezTo>
                    <a:pt x="0" y="83"/>
                    <a:pt x="83" y="0"/>
                    <a:pt x="184" y="0"/>
                  </a:cubicBezTo>
                  <a:cubicBezTo>
                    <a:pt x="184" y="0"/>
                    <a:pt x="184" y="0"/>
                    <a:pt x="184" y="0"/>
                  </a:cubicBezTo>
                  <a:cubicBezTo>
                    <a:pt x="286" y="0"/>
                    <a:pt x="368" y="83"/>
                    <a:pt x="368" y="184"/>
                  </a:cubicBezTo>
                  <a:cubicBezTo>
                    <a:pt x="368" y="184"/>
                    <a:pt x="368" y="184"/>
                    <a:pt x="368" y="184"/>
                  </a:cubicBezTo>
                  <a:cubicBezTo>
                    <a:pt x="368" y="286"/>
                    <a:pt x="286" y="368"/>
                    <a:pt x="184" y="368"/>
                  </a:cubicBezTo>
                  <a:cubicBezTo>
                    <a:pt x="184" y="368"/>
                    <a:pt x="184" y="368"/>
                    <a:pt x="184" y="368"/>
                  </a:cubicBezTo>
                  <a:cubicBezTo>
                    <a:pt x="83" y="368"/>
                    <a:pt x="0" y="286"/>
                    <a:pt x="0" y="184"/>
                  </a:cubicBezTo>
                  <a:cubicBezTo>
                    <a:pt x="0" y="184"/>
                    <a:pt x="0" y="184"/>
                    <a:pt x="0" y="184"/>
                  </a:cubicBezTo>
                  <a:close/>
                </a:path>
              </a:pathLst>
            </a:custGeom>
            <a:solidFill>
              <a:srgbClr val="FF8000"/>
            </a:solidFill>
            <a:ln w="0">
              <a:solidFill>
                <a:srgbClr val="000000"/>
              </a:solidFill>
              <a:round/>
              <a:headEnd/>
              <a:tailEnd/>
            </a:ln>
          </p:spPr>
          <p:txBody>
            <a:bodyPr/>
            <a:lstStyle/>
            <a:p>
              <a:endParaRPr lang="en-US"/>
            </a:p>
          </p:txBody>
        </p:sp>
        <p:sp>
          <p:nvSpPr>
            <p:cNvPr id="42154" name="Freeform 182"/>
            <p:cNvSpPr>
              <a:spLocks/>
            </p:cNvSpPr>
            <p:nvPr/>
          </p:nvSpPr>
          <p:spPr bwMode="auto">
            <a:xfrm>
              <a:off x="3610" y="3338"/>
              <a:ext cx="104" cy="104"/>
            </a:xfrm>
            <a:custGeom>
              <a:avLst/>
              <a:gdLst>
                <a:gd name="T0" fmla="*/ 0 w 368"/>
                <a:gd name="T1" fmla="*/ 4 h 368"/>
                <a:gd name="T2" fmla="*/ 4 w 368"/>
                <a:gd name="T3" fmla="*/ 0 h 368"/>
                <a:gd name="T4" fmla="*/ 4 w 368"/>
                <a:gd name="T5" fmla="*/ 0 h 368"/>
                <a:gd name="T6" fmla="*/ 4 w 368"/>
                <a:gd name="T7" fmla="*/ 0 h 368"/>
                <a:gd name="T8" fmla="*/ 8 w 368"/>
                <a:gd name="T9" fmla="*/ 4 h 368"/>
                <a:gd name="T10" fmla="*/ 8 w 368"/>
                <a:gd name="T11" fmla="*/ 4 h 368"/>
                <a:gd name="T12" fmla="*/ 8 w 368"/>
                <a:gd name="T13" fmla="*/ 4 h 368"/>
                <a:gd name="T14" fmla="*/ 4 w 368"/>
                <a:gd name="T15" fmla="*/ 8 h 368"/>
                <a:gd name="T16" fmla="*/ 4 w 368"/>
                <a:gd name="T17" fmla="*/ 8 h 368"/>
                <a:gd name="T18" fmla="*/ 4 w 368"/>
                <a:gd name="T19" fmla="*/ 8 h 368"/>
                <a:gd name="T20" fmla="*/ 0 w 368"/>
                <a:gd name="T21" fmla="*/ 4 h 368"/>
                <a:gd name="T22" fmla="*/ 0 w 368"/>
                <a:gd name="T23" fmla="*/ 4 h 3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8"/>
                <a:gd name="T37" fmla="*/ 0 h 368"/>
                <a:gd name="T38" fmla="*/ 368 w 368"/>
                <a:gd name="T39" fmla="*/ 368 h 36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8" h="368">
                  <a:moveTo>
                    <a:pt x="0" y="184"/>
                  </a:moveTo>
                  <a:cubicBezTo>
                    <a:pt x="0" y="83"/>
                    <a:pt x="83" y="0"/>
                    <a:pt x="184" y="0"/>
                  </a:cubicBezTo>
                  <a:cubicBezTo>
                    <a:pt x="184" y="0"/>
                    <a:pt x="184" y="0"/>
                    <a:pt x="184" y="0"/>
                  </a:cubicBezTo>
                  <a:cubicBezTo>
                    <a:pt x="286" y="0"/>
                    <a:pt x="368" y="83"/>
                    <a:pt x="368" y="184"/>
                  </a:cubicBezTo>
                  <a:cubicBezTo>
                    <a:pt x="368" y="184"/>
                    <a:pt x="368" y="184"/>
                    <a:pt x="368" y="184"/>
                  </a:cubicBezTo>
                  <a:cubicBezTo>
                    <a:pt x="368" y="286"/>
                    <a:pt x="286" y="368"/>
                    <a:pt x="184" y="368"/>
                  </a:cubicBezTo>
                  <a:cubicBezTo>
                    <a:pt x="184" y="368"/>
                    <a:pt x="184" y="368"/>
                    <a:pt x="184" y="368"/>
                  </a:cubicBezTo>
                  <a:cubicBezTo>
                    <a:pt x="83" y="368"/>
                    <a:pt x="0" y="286"/>
                    <a:pt x="0" y="184"/>
                  </a:cubicBezTo>
                  <a:cubicBezTo>
                    <a:pt x="0" y="184"/>
                    <a:pt x="0" y="184"/>
                    <a:pt x="0" y="184"/>
                  </a:cubicBezTo>
                  <a:close/>
                </a:path>
              </a:pathLst>
            </a:custGeom>
            <a:solidFill>
              <a:srgbClr val="8AC6CD"/>
            </a:solidFill>
            <a:ln w="0">
              <a:solidFill>
                <a:srgbClr val="000000"/>
              </a:solidFill>
              <a:round/>
              <a:headEnd/>
              <a:tailEnd/>
            </a:ln>
          </p:spPr>
          <p:txBody>
            <a:bodyPr/>
            <a:lstStyle/>
            <a:p>
              <a:endParaRPr lang="en-US"/>
            </a:p>
          </p:txBody>
        </p:sp>
        <p:sp>
          <p:nvSpPr>
            <p:cNvPr id="42155" name="Freeform 183"/>
            <p:cNvSpPr>
              <a:spLocks noEditPoints="1"/>
            </p:cNvSpPr>
            <p:nvPr/>
          </p:nvSpPr>
          <p:spPr bwMode="auto">
            <a:xfrm>
              <a:off x="3608" y="3207"/>
              <a:ext cx="108" cy="108"/>
            </a:xfrm>
            <a:custGeom>
              <a:avLst/>
              <a:gdLst>
                <a:gd name="T0" fmla="*/ 0 w 384"/>
                <a:gd name="T1" fmla="*/ 3 h 384"/>
                <a:gd name="T2" fmla="*/ 0 w 384"/>
                <a:gd name="T3" fmla="*/ 3 h 384"/>
                <a:gd name="T4" fmla="*/ 1 w 384"/>
                <a:gd name="T5" fmla="*/ 1 h 384"/>
                <a:gd name="T6" fmla="*/ 2 w 384"/>
                <a:gd name="T7" fmla="*/ 1 h 384"/>
                <a:gd name="T8" fmla="*/ 3 w 384"/>
                <a:gd name="T9" fmla="*/ 0 h 384"/>
                <a:gd name="T10" fmla="*/ 4 w 384"/>
                <a:gd name="T11" fmla="*/ 0 h 384"/>
                <a:gd name="T12" fmla="*/ 6 w 384"/>
                <a:gd name="T13" fmla="*/ 0 h 384"/>
                <a:gd name="T14" fmla="*/ 7 w 384"/>
                <a:gd name="T15" fmla="*/ 1 h 384"/>
                <a:gd name="T16" fmla="*/ 8 w 384"/>
                <a:gd name="T17" fmla="*/ 2 h 384"/>
                <a:gd name="T18" fmla="*/ 8 w 384"/>
                <a:gd name="T19" fmla="*/ 3 h 384"/>
                <a:gd name="T20" fmla="*/ 8 w 384"/>
                <a:gd name="T21" fmla="*/ 4 h 384"/>
                <a:gd name="T22" fmla="*/ 8 w 384"/>
                <a:gd name="T23" fmla="*/ 5 h 384"/>
                <a:gd name="T24" fmla="*/ 8 w 384"/>
                <a:gd name="T25" fmla="*/ 7 h 384"/>
                <a:gd name="T26" fmla="*/ 7 w 384"/>
                <a:gd name="T27" fmla="*/ 7 h 384"/>
                <a:gd name="T28" fmla="*/ 6 w 384"/>
                <a:gd name="T29" fmla="*/ 8 h 384"/>
                <a:gd name="T30" fmla="*/ 5 w 384"/>
                <a:gd name="T31" fmla="*/ 8 h 384"/>
                <a:gd name="T32" fmla="*/ 3 w 384"/>
                <a:gd name="T33" fmla="*/ 8 h 384"/>
                <a:gd name="T34" fmla="*/ 3 w 384"/>
                <a:gd name="T35" fmla="*/ 8 h 384"/>
                <a:gd name="T36" fmla="*/ 1 w 384"/>
                <a:gd name="T37" fmla="*/ 7 h 384"/>
                <a:gd name="T38" fmla="*/ 1 w 384"/>
                <a:gd name="T39" fmla="*/ 7 h 384"/>
                <a:gd name="T40" fmla="*/ 0 w 384"/>
                <a:gd name="T41" fmla="*/ 5 h 384"/>
                <a:gd name="T42" fmla="*/ 1 w 384"/>
                <a:gd name="T43" fmla="*/ 5 h 384"/>
                <a:gd name="T44" fmla="*/ 1 w 384"/>
                <a:gd name="T45" fmla="*/ 6 h 384"/>
                <a:gd name="T46" fmla="*/ 1 w 384"/>
                <a:gd name="T47" fmla="*/ 7 h 384"/>
                <a:gd name="T48" fmla="*/ 2 w 384"/>
                <a:gd name="T49" fmla="*/ 8 h 384"/>
                <a:gd name="T50" fmla="*/ 3 w 384"/>
                <a:gd name="T51" fmla="*/ 8 h 384"/>
                <a:gd name="T52" fmla="*/ 4 w 384"/>
                <a:gd name="T53" fmla="*/ 8 h 384"/>
                <a:gd name="T54" fmla="*/ 6 w 384"/>
                <a:gd name="T55" fmla="*/ 8 h 384"/>
                <a:gd name="T56" fmla="*/ 6 w 384"/>
                <a:gd name="T57" fmla="*/ 8 h 384"/>
                <a:gd name="T58" fmla="*/ 8 w 384"/>
                <a:gd name="T59" fmla="*/ 6 h 384"/>
                <a:gd name="T60" fmla="*/ 8 w 384"/>
                <a:gd name="T61" fmla="*/ 6 h 384"/>
                <a:gd name="T62" fmla="*/ 8 w 384"/>
                <a:gd name="T63" fmla="*/ 4 h 384"/>
                <a:gd name="T64" fmla="*/ 8 w 384"/>
                <a:gd name="T65" fmla="*/ 3 h 384"/>
                <a:gd name="T66" fmla="*/ 8 w 384"/>
                <a:gd name="T67" fmla="*/ 2 h 384"/>
                <a:gd name="T68" fmla="*/ 7 w 384"/>
                <a:gd name="T69" fmla="*/ 1 h 384"/>
                <a:gd name="T70" fmla="*/ 6 w 384"/>
                <a:gd name="T71" fmla="*/ 1 h 384"/>
                <a:gd name="T72" fmla="*/ 5 w 384"/>
                <a:gd name="T73" fmla="*/ 1 h 384"/>
                <a:gd name="T74" fmla="*/ 3 w 384"/>
                <a:gd name="T75" fmla="*/ 1 h 384"/>
                <a:gd name="T76" fmla="*/ 3 w 384"/>
                <a:gd name="T77" fmla="*/ 1 h 384"/>
                <a:gd name="T78" fmla="*/ 1 w 384"/>
                <a:gd name="T79" fmla="*/ 1 h 384"/>
                <a:gd name="T80" fmla="*/ 1 w 384"/>
                <a:gd name="T81" fmla="*/ 2 h 384"/>
                <a:gd name="T82" fmla="*/ 1 w 384"/>
                <a:gd name="T83" fmla="*/ 3 h 384"/>
                <a:gd name="T84" fmla="*/ 0 w 384"/>
                <a:gd name="T85" fmla="*/ 4 h 38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84"/>
                <a:gd name="T130" fmla="*/ 0 h 384"/>
                <a:gd name="T131" fmla="*/ 384 w 384"/>
                <a:gd name="T132" fmla="*/ 384 h 38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84" h="384">
                  <a:moveTo>
                    <a:pt x="1" y="193"/>
                  </a:moveTo>
                  <a:cubicBezTo>
                    <a:pt x="0" y="193"/>
                    <a:pt x="0" y="192"/>
                    <a:pt x="1" y="192"/>
                  </a:cubicBezTo>
                  <a:lnTo>
                    <a:pt x="5" y="155"/>
                  </a:lnTo>
                  <a:cubicBezTo>
                    <a:pt x="5" y="154"/>
                    <a:pt x="5" y="154"/>
                    <a:pt x="5" y="153"/>
                  </a:cubicBezTo>
                  <a:lnTo>
                    <a:pt x="16" y="119"/>
                  </a:lnTo>
                  <a:cubicBezTo>
                    <a:pt x="16" y="119"/>
                    <a:pt x="16" y="118"/>
                    <a:pt x="16" y="118"/>
                  </a:cubicBezTo>
                  <a:lnTo>
                    <a:pt x="33" y="86"/>
                  </a:lnTo>
                  <a:cubicBezTo>
                    <a:pt x="34" y="85"/>
                    <a:pt x="34" y="85"/>
                    <a:pt x="34" y="84"/>
                  </a:cubicBezTo>
                  <a:lnTo>
                    <a:pt x="56" y="57"/>
                  </a:lnTo>
                  <a:cubicBezTo>
                    <a:pt x="57" y="57"/>
                    <a:pt x="57" y="57"/>
                    <a:pt x="57" y="56"/>
                  </a:cubicBezTo>
                  <a:lnTo>
                    <a:pt x="84" y="34"/>
                  </a:lnTo>
                  <a:cubicBezTo>
                    <a:pt x="85" y="34"/>
                    <a:pt x="85" y="34"/>
                    <a:pt x="86" y="33"/>
                  </a:cubicBezTo>
                  <a:lnTo>
                    <a:pt x="118" y="16"/>
                  </a:lnTo>
                  <a:cubicBezTo>
                    <a:pt x="118" y="16"/>
                    <a:pt x="119" y="16"/>
                    <a:pt x="119" y="16"/>
                  </a:cubicBezTo>
                  <a:lnTo>
                    <a:pt x="153" y="5"/>
                  </a:lnTo>
                  <a:cubicBezTo>
                    <a:pt x="154" y="5"/>
                    <a:pt x="154" y="5"/>
                    <a:pt x="155" y="5"/>
                  </a:cubicBezTo>
                  <a:lnTo>
                    <a:pt x="192" y="1"/>
                  </a:lnTo>
                  <a:cubicBezTo>
                    <a:pt x="192" y="0"/>
                    <a:pt x="193" y="0"/>
                    <a:pt x="193" y="1"/>
                  </a:cubicBezTo>
                  <a:lnTo>
                    <a:pt x="230" y="5"/>
                  </a:lnTo>
                  <a:cubicBezTo>
                    <a:pt x="231" y="5"/>
                    <a:pt x="231" y="5"/>
                    <a:pt x="232" y="5"/>
                  </a:cubicBezTo>
                  <a:lnTo>
                    <a:pt x="267" y="16"/>
                  </a:lnTo>
                  <a:cubicBezTo>
                    <a:pt x="267" y="16"/>
                    <a:pt x="268" y="16"/>
                    <a:pt x="268" y="16"/>
                  </a:cubicBezTo>
                  <a:lnTo>
                    <a:pt x="299" y="33"/>
                  </a:lnTo>
                  <a:cubicBezTo>
                    <a:pt x="300" y="34"/>
                    <a:pt x="300" y="34"/>
                    <a:pt x="301" y="34"/>
                  </a:cubicBezTo>
                  <a:lnTo>
                    <a:pt x="328" y="56"/>
                  </a:lnTo>
                  <a:cubicBezTo>
                    <a:pt x="328" y="57"/>
                    <a:pt x="328" y="57"/>
                    <a:pt x="329" y="57"/>
                  </a:cubicBezTo>
                  <a:lnTo>
                    <a:pt x="352" y="84"/>
                  </a:lnTo>
                  <a:cubicBezTo>
                    <a:pt x="352" y="85"/>
                    <a:pt x="352" y="85"/>
                    <a:pt x="353" y="86"/>
                  </a:cubicBezTo>
                  <a:lnTo>
                    <a:pt x="370" y="118"/>
                  </a:lnTo>
                  <a:cubicBezTo>
                    <a:pt x="370" y="118"/>
                    <a:pt x="370" y="119"/>
                    <a:pt x="370" y="119"/>
                  </a:cubicBezTo>
                  <a:lnTo>
                    <a:pt x="380" y="153"/>
                  </a:lnTo>
                  <a:cubicBezTo>
                    <a:pt x="380" y="154"/>
                    <a:pt x="380" y="154"/>
                    <a:pt x="380" y="155"/>
                  </a:cubicBezTo>
                  <a:lnTo>
                    <a:pt x="384" y="192"/>
                  </a:lnTo>
                  <a:cubicBezTo>
                    <a:pt x="384" y="192"/>
                    <a:pt x="384" y="193"/>
                    <a:pt x="384" y="193"/>
                  </a:cubicBezTo>
                  <a:lnTo>
                    <a:pt x="380" y="230"/>
                  </a:lnTo>
                  <a:cubicBezTo>
                    <a:pt x="380" y="231"/>
                    <a:pt x="380" y="231"/>
                    <a:pt x="380" y="232"/>
                  </a:cubicBezTo>
                  <a:lnTo>
                    <a:pt x="370" y="267"/>
                  </a:lnTo>
                  <a:cubicBezTo>
                    <a:pt x="370" y="267"/>
                    <a:pt x="370" y="268"/>
                    <a:pt x="369" y="268"/>
                  </a:cubicBezTo>
                  <a:lnTo>
                    <a:pt x="352" y="299"/>
                  </a:lnTo>
                  <a:cubicBezTo>
                    <a:pt x="352" y="300"/>
                    <a:pt x="352" y="300"/>
                    <a:pt x="352" y="301"/>
                  </a:cubicBezTo>
                  <a:lnTo>
                    <a:pt x="329" y="328"/>
                  </a:lnTo>
                  <a:cubicBezTo>
                    <a:pt x="328" y="328"/>
                    <a:pt x="328" y="328"/>
                    <a:pt x="328" y="329"/>
                  </a:cubicBezTo>
                  <a:lnTo>
                    <a:pt x="301" y="352"/>
                  </a:lnTo>
                  <a:cubicBezTo>
                    <a:pt x="300" y="352"/>
                    <a:pt x="300" y="352"/>
                    <a:pt x="299" y="352"/>
                  </a:cubicBezTo>
                  <a:lnTo>
                    <a:pt x="268" y="369"/>
                  </a:lnTo>
                  <a:cubicBezTo>
                    <a:pt x="268" y="370"/>
                    <a:pt x="267" y="370"/>
                    <a:pt x="267" y="370"/>
                  </a:cubicBezTo>
                  <a:lnTo>
                    <a:pt x="232" y="380"/>
                  </a:lnTo>
                  <a:cubicBezTo>
                    <a:pt x="231" y="380"/>
                    <a:pt x="231" y="380"/>
                    <a:pt x="230" y="380"/>
                  </a:cubicBezTo>
                  <a:lnTo>
                    <a:pt x="193" y="384"/>
                  </a:lnTo>
                  <a:cubicBezTo>
                    <a:pt x="193" y="384"/>
                    <a:pt x="192" y="384"/>
                    <a:pt x="192" y="384"/>
                  </a:cubicBezTo>
                  <a:lnTo>
                    <a:pt x="155" y="380"/>
                  </a:lnTo>
                  <a:cubicBezTo>
                    <a:pt x="154" y="380"/>
                    <a:pt x="154" y="380"/>
                    <a:pt x="153" y="380"/>
                  </a:cubicBezTo>
                  <a:lnTo>
                    <a:pt x="119" y="370"/>
                  </a:lnTo>
                  <a:cubicBezTo>
                    <a:pt x="119" y="370"/>
                    <a:pt x="118" y="370"/>
                    <a:pt x="118" y="370"/>
                  </a:cubicBezTo>
                  <a:lnTo>
                    <a:pt x="86" y="353"/>
                  </a:lnTo>
                  <a:cubicBezTo>
                    <a:pt x="85" y="352"/>
                    <a:pt x="85" y="352"/>
                    <a:pt x="84" y="352"/>
                  </a:cubicBezTo>
                  <a:lnTo>
                    <a:pt x="57" y="329"/>
                  </a:lnTo>
                  <a:cubicBezTo>
                    <a:pt x="57" y="328"/>
                    <a:pt x="57" y="328"/>
                    <a:pt x="56" y="328"/>
                  </a:cubicBezTo>
                  <a:lnTo>
                    <a:pt x="34" y="301"/>
                  </a:lnTo>
                  <a:cubicBezTo>
                    <a:pt x="34" y="300"/>
                    <a:pt x="34" y="300"/>
                    <a:pt x="33" y="299"/>
                  </a:cubicBezTo>
                  <a:lnTo>
                    <a:pt x="16" y="268"/>
                  </a:lnTo>
                  <a:cubicBezTo>
                    <a:pt x="16" y="268"/>
                    <a:pt x="16" y="267"/>
                    <a:pt x="16" y="267"/>
                  </a:cubicBezTo>
                  <a:lnTo>
                    <a:pt x="5" y="232"/>
                  </a:lnTo>
                  <a:cubicBezTo>
                    <a:pt x="5" y="231"/>
                    <a:pt x="5" y="231"/>
                    <a:pt x="5" y="230"/>
                  </a:cubicBezTo>
                  <a:lnTo>
                    <a:pt x="1" y="193"/>
                  </a:lnTo>
                  <a:close/>
                  <a:moveTo>
                    <a:pt x="20" y="229"/>
                  </a:moveTo>
                  <a:lnTo>
                    <a:pt x="20" y="227"/>
                  </a:lnTo>
                  <a:lnTo>
                    <a:pt x="31" y="262"/>
                  </a:lnTo>
                  <a:lnTo>
                    <a:pt x="30" y="261"/>
                  </a:lnTo>
                  <a:lnTo>
                    <a:pt x="47" y="292"/>
                  </a:lnTo>
                  <a:lnTo>
                    <a:pt x="47" y="290"/>
                  </a:lnTo>
                  <a:lnTo>
                    <a:pt x="69" y="317"/>
                  </a:lnTo>
                  <a:lnTo>
                    <a:pt x="68" y="316"/>
                  </a:lnTo>
                  <a:lnTo>
                    <a:pt x="95" y="339"/>
                  </a:lnTo>
                  <a:lnTo>
                    <a:pt x="93" y="338"/>
                  </a:lnTo>
                  <a:lnTo>
                    <a:pt x="125" y="355"/>
                  </a:lnTo>
                  <a:lnTo>
                    <a:pt x="124" y="355"/>
                  </a:lnTo>
                  <a:lnTo>
                    <a:pt x="158" y="365"/>
                  </a:lnTo>
                  <a:lnTo>
                    <a:pt x="156" y="365"/>
                  </a:lnTo>
                  <a:lnTo>
                    <a:pt x="193" y="369"/>
                  </a:lnTo>
                  <a:lnTo>
                    <a:pt x="192" y="369"/>
                  </a:lnTo>
                  <a:lnTo>
                    <a:pt x="229" y="365"/>
                  </a:lnTo>
                  <a:lnTo>
                    <a:pt x="227" y="365"/>
                  </a:lnTo>
                  <a:lnTo>
                    <a:pt x="262" y="355"/>
                  </a:lnTo>
                  <a:lnTo>
                    <a:pt x="261" y="355"/>
                  </a:lnTo>
                  <a:lnTo>
                    <a:pt x="292" y="338"/>
                  </a:lnTo>
                  <a:lnTo>
                    <a:pt x="290" y="339"/>
                  </a:lnTo>
                  <a:lnTo>
                    <a:pt x="317" y="316"/>
                  </a:lnTo>
                  <a:lnTo>
                    <a:pt x="316" y="317"/>
                  </a:lnTo>
                  <a:lnTo>
                    <a:pt x="339" y="290"/>
                  </a:lnTo>
                  <a:lnTo>
                    <a:pt x="338" y="292"/>
                  </a:lnTo>
                  <a:lnTo>
                    <a:pt x="355" y="261"/>
                  </a:lnTo>
                  <a:lnTo>
                    <a:pt x="355" y="262"/>
                  </a:lnTo>
                  <a:lnTo>
                    <a:pt x="365" y="227"/>
                  </a:lnTo>
                  <a:lnTo>
                    <a:pt x="365" y="229"/>
                  </a:lnTo>
                  <a:lnTo>
                    <a:pt x="369" y="192"/>
                  </a:lnTo>
                  <a:lnTo>
                    <a:pt x="369" y="193"/>
                  </a:lnTo>
                  <a:lnTo>
                    <a:pt x="365" y="156"/>
                  </a:lnTo>
                  <a:lnTo>
                    <a:pt x="365" y="158"/>
                  </a:lnTo>
                  <a:lnTo>
                    <a:pt x="355" y="124"/>
                  </a:lnTo>
                  <a:lnTo>
                    <a:pt x="355" y="125"/>
                  </a:lnTo>
                  <a:lnTo>
                    <a:pt x="338" y="93"/>
                  </a:lnTo>
                  <a:lnTo>
                    <a:pt x="339" y="95"/>
                  </a:lnTo>
                  <a:lnTo>
                    <a:pt x="316" y="68"/>
                  </a:lnTo>
                  <a:lnTo>
                    <a:pt x="317" y="69"/>
                  </a:lnTo>
                  <a:lnTo>
                    <a:pt x="290" y="47"/>
                  </a:lnTo>
                  <a:lnTo>
                    <a:pt x="292" y="47"/>
                  </a:lnTo>
                  <a:lnTo>
                    <a:pt x="261" y="30"/>
                  </a:lnTo>
                  <a:lnTo>
                    <a:pt x="262" y="31"/>
                  </a:lnTo>
                  <a:lnTo>
                    <a:pt x="227" y="20"/>
                  </a:lnTo>
                  <a:lnTo>
                    <a:pt x="229" y="20"/>
                  </a:lnTo>
                  <a:lnTo>
                    <a:pt x="192" y="16"/>
                  </a:lnTo>
                  <a:lnTo>
                    <a:pt x="193" y="16"/>
                  </a:lnTo>
                  <a:lnTo>
                    <a:pt x="156" y="20"/>
                  </a:lnTo>
                  <a:lnTo>
                    <a:pt x="158" y="20"/>
                  </a:lnTo>
                  <a:lnTo>
                    <a:pt x="124" y="31"/>
                  </a:lnTo>
                  <a:lnTo>
                    <a:pt x="125" y="31"/>
                  </a:lnTo>
                  <a:lnTo>
                    <a:pt x="93" y="48"/>
                  </a:lnTo>
                  <a:lnTo>
                    <a:pt x="95" y="47"/>
                  </a:lnTo>
                  <a:lnTo>
                    <a:pt x="68" y="69"/>
                  </a:lnTo>
                  <a:lnTo>
                    <a:pt x="69" y="68"/>
                  </a:lnTo>
                  <a:lnTo>
                    <a:pt x="47" y="95"/>
                  </a:lnTo>
                  <a:lnTo>
                    <a:pt x="48" y="93"/>
                  </a:lnTo>
                  <a:lnTo>
                    <a:pt x="31" y="125"/>
                  </a:lnTo>
                  <a:lnTo>
                    <a:pt x="31" y="124"/>
                  </a:lnTo>
                  <a:lnTo>
                    <a:pt x="20" y="158"/>
                  </a:lnTo>
                  <a:lnTo>
                    <a:pt x="20" y="156"/>
                  </a:lnTo>
                  <a:lnTo>
                    <a:pt x="16" y="193"/>
                  </a:lnTo>
                  <a:lnTo>
                    <a:pt x="16" y="192"/>
                  </a:lnTo>
                  <a:lnTo>
                    <a:pt x="20" y="229"/>
                  </a:lnTo>
                  <a:close/>
                </a:path>
              </a:pathLst>
            </a:custGeom>
            <a:solidFill>
              <a:srgbClr val="000000"/>
            </a:solidFill>
            <a:ln w="0">
              <a:solidFill>
                <a:srgbClr val="000000"/>
              </a:solidFill>
              <a:round/>
              <a:headEnd/>
              <a:tailEnd/>
            </a:ln>
          </p:spPr>
          <p:txBody>
            <a:bodyPr/>
            <a:lstStyle/>
            <a:p>
              <a:endParaRPr lang="en-US"/>
            </a:p>
          </p:txBody>
        </p:sp>
        <p:sp>
          <p:nvSpPr>
            <p:cNvPr id="42156" name="Freeform 184"/>
            <p:cNvSpPr>
              <a:spLocks/>
            </p:cNvSpPr>
            <p:nvPr/>
          </p:nvSpPr>
          <p:spPr bwMode="auto">
            <a:xfrm>
              <a:off x="3610" y="3473"/>
              <a:ext cx="104" cy="104"/>
            </a:xfrm>
            <a:custGeom>
              <a:avLst/>
              <a:gdLst>
                <a:gd name="T0" fmla="*/ 0 w 368"/>
                <a:gd name="T1" fmla="*/ 4 h 368"/>
                <a:gd name="T2" fmla="*/ 4 w 368"/>
                <a:gd name="T3" fmla="*/ 0 h 368"/>
                <a:gd name="T4" fmla="*/ 4 w 368"/>
                <a:gd name="T5" fmla="*/ 0 h 368"/>
                <a:gd name="T6" fmla="*/ 4 w 368"/>
                <a:gd name="T7" fmla="*/ 0 h 368"/>
                <a:gd name="T8" fmla="*/ 8 w 368"/>
                <a:gd name="T9" fmla="*/ 4 h 368"/>
                <a:gd name="T10" fmla="*/ 8 w 368"/>
                <a:gd name="T11" fmla="*/ 4 h 368"/>
                <a:gd name="T12" fmla="*/ 8 w 368"/>
                <a:gd name="T13" fmla="*/ 4 h 368"/>
                <a:gd name="T14" fmla="*/ 4 w 368"/>
                <a:gd name="T15" fmla="*/ 8 h 368"/>
                <a:gd name="T16" fmla="*/ 4 w 368"/>
                <a:gd name="T17" fmla="*/ 8 h 368"/>
                <a:gd name="T18" fmla="*/ 4 w 368"/>
                <a:gd name="T19" fmla="*/ 8 h 368"/>
                <a:gd name="T20" fmla="*/ 0 w 368"/>
                <a:gd name="T21" fmla="*/ 4 h 368"/>
                <a:gd name="T22" fmla="*/ 0 w 368"/>
                <a:gd name="T23" fmla="*/ 4 h 3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8"/>
                <a:gd name="T37" fmla="*/ 0 h 368"/>
                <a:gd name="T38" fmla="*/ 368 w 368"/>
                <a:gd name="T39" fmla="*/ 368 h 36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8" h="368">
                  <a:moveTo>
                    <a:pt x="0" y="184"/>
                  </a:moveTo>
                  <a:cubicBezTo>
                    <a:pt x="0" y="83"/>
                    <a:pt x="83" y="0"/>
                    <a:pt x="184" y="0"/>
                  </a:cubicBezTo>
                  <a:cubicBezTo>
                    <a:pt x="184" y="0"/>
                    <a:pt x="184" y="0"/>
                    <a:pt x="184" y="0"/>
                  </a:cubicBezTo>
                  <a:cubicBezTo>
                    <a:pt x="286" y="0"/>
                    <a:pt x="368" y="83"/>
                    <a:pt x="368" y="184"/>
                  </a:cubicBezTo>
                  <a:cubicBezTo>
                    <a:pt x="368" y="184"/>
                    <a:pt x="368" y="184"/>
                    <a:pt x="368" y="184"/>
                  </a:cubicBezTo>
                  <a:cubicBezTo>
                    <a:pt x="368" y="286"/>
                    <a:pt x="286" y="368"/>
                    <a:pt x="184" y="368"/>
                  </a:cubicBezTo>
                  <a:cubicBezTo>
                    <a:pt x="184" y="368"/>
                    <a:pt x="184" y="368"/>
                    <a:pt x="184" y="368"/>
                  </a:cubicBezTo>
                  <a:cubicBezTo>
                    <a:pt x="83" y="368"/>
                    <a:pt x="0" y="286"/>
                    <a:pt x="0" y="184"/>
                  </a:cubicBezTo>
                  <a:cubicBezTo>
                    <a:pt x="0" y="184"/>
                    <a:pt x="0" y="184"/>
                    <a:pt x="0" y="184"/>
                  </a:cubicBezTo>
                  <a:close/>
                </a:path>
              </a:pathLst>
            </a:custGeom>
            <a:solidFill>
              <a:srgbClr val="FFFFCC"/>
            </a:solidFill>
            <a:ln w="0">
              <a:solidFill>
                <a:srgbClr val="000000"/>
              </a:solidFill>
              <a:round/>
              <a:headEnd/>
              <a:tailEnd/>
            </a:ln>
          </p:spPr>
          <p:txBody>
            <a:bodyPr/>
            <a:lstStyle/>
            <a:p>
              <a:endParaRPr lang="en-US"/>
            </a:p>
          </p:txBody>
        </p:sp>
        <p:sp>
          <p:nvSpPr>
            <p:cNvPr id="42157" name="Freeform 185"/>
            <p:cNvSpPr>
              <a:spLocks noEditPoints="1"/>
            </p:cNvSpPr>
            <p:nvPr/>
          </p:nvSpPr>
          <p:spPr bwMode="auto">
            <a:xfrm>
              <a:off x="3608" y="3342"/>
              <a:ext cx="108" cy="108"/>
            </a:xfrm>
            <a:custGeom>
              <a:avLst/>
              <a:gdLst>
                <a:gd name="T0" fmla="*/ 0 w 384"/>
                <a:gd name="T1" fmla="*/ 3 h 384"/>
                <a:gd name="T2" fmla="*/ 0 w 384"/>
                <a:gd name="T3" fmla="*/ 3 h 384"/>
                <a:gd name="T4" fmla="*/ 1 w 384"/>
                <a:gd name="T5" fmla="*/ 1 h 384"/>
                <a:gd name="T6" fmla="*/ 2 w 384"/>
                <a:gd name="T7" fmla="*/ 1 h 384"/>
                <a:gd name="T8" fmla="*/ 3 w 384"/>
                <a:gd name="T9" fmla="*/ 0 h 384"/>
                <a:gd name="T10" fmla="*/ 4 w 384"/>
                <a:gd name="T11" fmla="*/ 0 h 384"/>
                <a:gd name="T12" fmla="*/ 6 w 384"/>
                <a:gd name="T13" fmla="*/ 0 h 384"/>
                <a:gd name="T14" fmla="*/ 7 w 384"/>
                <a:gd name="T15" fmla="*/ 1 h 384"/>
                <a:gd name="T16" fmla="*/ 8 w 384"/>
                <a:gd name="T17" fmla="*/ 2 h 384"/>
                <a:gd name="T18" fmla="*/ 8 w 384"/>
                <a:gd name="T19" fmla="*/ 3 h 384"/>
                <a:gd name="T20" fmla="*/ 8 w 384"/>
                <a:gd name="T21" fmla="*/ 4 h 384"/>
                <a:gd name="T22" fmla="*/ 8 w 384"/>
                <a:gd name="T23" fmla="*/ 5 h 384"/>
                <a:gd name="T24" fmla="*/ 8 w 384"/>
                <a:gd name="T25" fmla="*/ 7 h 384"/>
                <a:gd name="T26" fmla="*/ 7 w 384"/>
                <a:gd name="T27" fmla="*/ 7 h 384"/>
                <a:gd name="T28" fmla="*/ 6 w 384"/>
                <a:gd name="T29" fmla="*/ 8 h 384"/>
                <a:gd name="T30" fmla="*/ 5 w 384"/>
                <a:gd name="T31" fmla="*/ 8 h 384"/>
                <a:gd name="T32" fmla="*/ 3 w 384"/>
                <a:gd name="T33" fmla="*/ 8 h 384"/>
                <a:gd name="T34" fmla="*/ 3 w 384"/>
                <a:gd name="T35" fmla="*/ 8 h 384"/>
                <a:gd name="T36" fmla="*/ 1 w 384"/>
                <a:gd name="T37" fmla="*/ 7 h 384"/>
                <a:gd name="T38" fmla="*/ 1 w 384"/>
                <a:gd name="T39" fmla="*/ 7 h 384"/>
                <a:gd name="T40" fmla="*/ 0 w 384"/>
                <a:gd name="T41" fmla="*/ 5 h 384"/>
                <a:gd name="T42" fmla="*/ 1 w 384"/>
                <a:gd name="T43" fmla="*/ 5 h 384"/>
                <a:gd name="T44" fmla="*/ 1 w 384"/>
                <a:gd name="T45" fmla="*/ 6 h 384"/>
                <a:gd name="T46" fmla="*/ 1 w 384"/>
                <a:gd name="T47" fmla="*/ 7 h 384"/>
                <a:gd name="T48" fmla="*/ 2 w 384"/>
                <a:gd name="T49" fmla="*/ 8 h 384"/>
                <a:gd name="T50" fmla="*/ 3 w 384"/>
                <a:gd name="T51" fmla="*/ 8 h 384"/>
                <a:gd name="T52" fmla="*/ 4 w 384"/>
                <a:gd name="T53" fmla="*/ 8 h 384"/>
                <a:gd name="T54" fmla="*/ 6 w 384"/>
                <a:gd name="T55" fmla="*/ 8 h 384"/>
                <a:gd name="T56" fmla="*/ 6 w 384"/>
                <a:gd name="T57" fmla="*/ 8 h 384"/>
                <a:gd name="T58" fmla="*/ 8 w 384"/>
                <a:gd name="T59" fmla="*/ 6 h 384"/>
                <a:gd name="T60" fmla="*/ 8 w 384"/>
                <a:gd name="T61" fmla="*/ 6 h 384"/>
                <a:gd name="T62" fmla="*/ 8 w 384"/>
                <a:gd name="T63" fmla="*/ 4 h 384"/>
                <a:gd name="T64" fmla="*/ 8 w 384"/>
                <a:gd name="T65" fmla="*/ 3 h 384"/>
                <a:gd name="T66" fmla="*/ 8 w 384"/>
                <a:gd name="T67" fmla="*/ 2 h 384"/>
                <a:gd name="T68" fmla="*/ 7 w 384"/>
                <a:gd name="T69" fmla="*/ 1 h 384"/>
                <a:gd name="T70" fmla="*/ 6 w 384"/>
                <a:gd name="T71" fmla="*/ 1 h 384"/>
                <a:gd name="T72" fmla="*/ 5 w 384"/>
                <a:gd name="T73" fmla="*/ 1 h 384"/>
                <a:gd name="T74" fmla="*/ 3 w 384"/>
                <a:gd name="T75" fmla="*/ 1 h 384"/>
                <a:gd name="T76" fmla="*/ 3 w 384"/>
                <a:gd name="T77" fmla="*/ 1 h 384"/>
                <a:gd name="T78" fmla="*/ 1 w 384"/>
                <a:gd name="T79" fmla="*/ 1 h 384"/>
                <a:gd name="T80" fmla="*/ 1 w 384"/>
                <a:gd name="T81" fmla="*/ 2 h 384"/>
                <a:gd name="T82" fmla="*/ 1 w 384"/>
                <a:gd name="T83" fmla="*/ 3 h 384"/>
                <a:gd name="T84" fmla="*/ 0 w 384"/>
                <a:gd name="T85" fmla="*/ 4 h 38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84"/>
                <a:gd name="T130" fmla="*/ 0 h 384"/>
                <a:gd name="T131" fmla="*/ 384 w 384"/>
                <a:gd name="T132" fmla="*/ 384 h 38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84" h="384">
                  <a:moveTo>
                    <a:pt x="1" y="193"/>
                  </a:moveTo>
                  <a:cubicBezTo>
                    <a:pt x="0" y="193"/>
                    <a:pt x="0" y="192"/>
                    <a:pt x="1" y="192"/>
                  </a:cubicBezTo>
                  <a:lnTo>
                    <a:pt x="5" y="155"/>
                  </a:lnTo>
                  <a:cubicBezTo>
                    <a:pt x="5" y="154"/>
                    <a:pt x="5" y="154"/>
                    <a:pt x="5" y="153"/>
                  </a:cubicBezTo>
                  <a:lnTo>
                    <a:pt x="16" y="119"/>
                  </a:lnTo>
                  <a:cubicBezTo>
                    <a:pt x="16" y="119"/>
                    <a:pt x="16" y="118"/>
                    <a:pt x="16" y="118"/>
                  </a:cubicBezTo>
                  <a:lnTo>
                    <a:pt x="33" y="86"/>
                  </a:lnTo>
                  <a:cubicBezTo>
                    <a:pt x="34" y="85"/>
                    <a:pt x="34" y="85"/>
                    <a:pt x="34" y="84"/>
                  </a:cubicBezTo>
                  <a:lnTo>
                    <a:pt x="56" y="57"/>
                  </a:lnTo>
                  <a:cubicBezTo>
                    <a:pt x="57" y="57"/>
                    <a:pt x="57" y="57"/>
                    <a:pt x="57" y="56"/>
                  </a:cubicBezTo>
                  <a:lnTo>
                    <a:pt x="84" y="34"/>
                  </a:lnTo>
                  <a:cubicBezTo>
                    <a:pt x="85" y="34"/>
                    <a:pt x="85" y="34"/>
                    <a:pt x="86" y="33"/>
                  </a:cubicBezTo>
                  <a:lnTo>
                    <a:pt x="118" y="16"/>
                  </a:lnTo>
                  <a:cubicBezTo>
                    <a:pt x="118" y="16"/>
                    <a:pt x="119" y="16"/>
                    <a:pt x="119" y="16"/>
                  </a:cubicBezTo>
                  <a:lnTo>
                    <a:pt x="153" y="5"/>
                  </a:lnTo>
                  <a:cubicBezTo>
                    <a:pt x="154" y="5"/>
                    <a:pt x="154" y="5"/>
                    <a:pt x="155" y="5"/>
                  </a:cubicBezTo>
                  <a:lnTo>
                    <a:pt x="192" y="1"/>
                  </a:lnTo>
                  <a:cubicBezTo>
                    <a:pt x="192" y="0"/>
                    <a:pt x="193" y="0"/>
                    <a:pt x="193" y="1"/>
                  </a:cubicBezTo>
                  <a:lnTo>
                    <a:pt x="230" y="5"/>
                  </a:lnTo>
                  <a:cubicBezTo>
                    <a:pt x="231" y="5"/>
                    <a:pt x="231" y="5"/>
                    <a:pt x="232" y="5"/>
                  </a:cubicBezTo>
                  <a:lnTo>
                    <a:pt x="267" y="16"/>
                  </a:lnTo>
                  <a:cubicBezTo>
                    <a:pt x="267" y="16"/>
                    <a:pt x="268" y="16"/>
                    <a:pt x="268" y="16"/>
                  </a:cubicBezTo>
                  <a:lnTo>
                    <a:pt x="299" y="33"/>
                  </a:lnTo>
                  <a:cubicBezTo>
                    <a:pt x="300" y="34"/>
                    <a:pt x="300" y="34"/>
                    <a:pt x="301" y="34"/>
                  </a:cubicBezTo>
                  <a:lnTo>
                    <a:pt x="328" y="56"/>
                  </a:lnTo>
                  <a:cubicBezTo>
                    <a:pt x="328" y="57"/>
                    <a:pt x="328" y="57"/>
                    <a:pt x="329" y="57"/>
                  </a:cubicBezTo>
                  <a:lnTo>
                    <a:pt x="352" y="84"/>
                  </a:lnTo>
                  <a:cubicBezTo>
                    <a:pt x="352" y="85"/>
                    <a:pt x="352" y="85"/>
                    <a:pt x="353" y="86"/>
                  </a:cubicBezTo>
                  <a:lnTo>
                    <a:pt x="370" y="118"/>
                  </a:lnTo>
                  <a:cubicBezTo>
                    <a:pt x="370" y="118"/>
                    <a:pt x="370" y="119"/>
                    <a:pt x="370" y="119"/>
                  </a:cubicBezTo>
                  <a:lnTo>
                    <a:pt x="380" y="153"/>
                  </a:lnTo>
                  <a:cubicBezTo>
                    <a:pt x="380" y="154"/>
                    <a:pt x="380" y="154"/>
                    <a:pt x="380" y="155"/>
                  </a:cubicBezTo>
                  <a:lnTo>
                    <a:pt x="384" y="192"/>
                  </a:lnTo>
                  <a:cubicBezTo>
                    <a:pt x="384" y="192"/>
                    <a:pt x="384" y="193"/>
                    <a:pt x="384" y="193"/>
                  </a:cubicBezTo>
                  <a:lnTo>
                    <a:pt x="380" y="230"/>
                  </a:lnTo>
                  <a:cubicBezTo>
                    <a:pt x="380" y="231"/>
                    <a:pt x="380" y="231"/>
                    <a:pt x="380" y="232"/>
                  </a:cubicBezTo>
                  <a:lnTo>
                    <a:pt x="370" y="267"/>
                  </a:lnTo>
                  <a:cubicBezTo>
                    <a:pt x="370" y="267"/>
                    <a:pt x="370" y="268"/>
                    <a:pt x="369" y="268"/>
                  </a:cubicBezTo>
                  <a:lnTo>
                    <a:pt x="352" y="299"/>
                  </a:lnTo>
                  <a:cubicBezTo>
                    <a:pt x="352" y="300"/>
                    <a:pt x="352" y="300"/>
                    <a:pt x="352" y="301"/>
                  </a:cubicBezTo>
                  <a:lnTo>
                    <a:pt x="329" y="328"/>
                  </a:lnTo>
                  <a:cubicBezTo>
                    <a:pt x="328" y="328"/>
                    <a:pt x="328" y="328"/>
                    <a:pt x="328" y="329"/>
                  </a:cubicBezTo>
                  <a:lnTo>
                    <a:pt x="301" y="352"/>
                  </a:lnTo>
                  <a:cubicBezTo>
                    <a:pt x="300" y="352"/>
                    <a:pt x="300" y="352"/>
                    <a:pt x="299" y="352"/>
                  </a:cubicBezTo>
                  <a:lnTo>
                    <a:pt x="268" y="369"/>
                  </a:lnTo>
                  <a:cubicBezTo>
                    <a:pt x="268" y="370"/>
                    <a:pt x="267" y="370"/>
                    <a:pt x="267" y="370"/>
                  </a:cubicBezTo>
                  <a:lnTo>
                    <a:pt x="232" y="380"/>
                  </a:lnTo>
                  <a:cubicBezTo>
                    <a:pt x="231" y="380"/>
                    <a:pt x="231" y="380"/>
                    <a:pt x="230" y="380"/>
                  </a:cubicBezTo>
                  <a:lnTo>
                    <a:pt x="193" y="384"/>
                  </a:lnTo>
                  <a:cubicBezTo>
                    <a:pt x="193" y="384"/>
                    <a:pt x="192" y="384"/>
                    <a:pt x="192" y="384"/>
                  </a:cubicBezTo>
                  <a:lnTo>
                    <a:pt x="155" y="380"/>
                  </a:lnTo>
                  <a:cubicBezTo>
                    <a:pt x="154" y="380"/>
                    <a:pt x="154" y="380"/>
                    <a:pt x="153" y="380"/>
                  </a:cubicBezTo>
                  <a:lnTo>
                    <a:pt x="119" y="370"/>
                  </a:lnTo>
                  <a:cubicBezTo>
                    <a:pt x="119" y="370"/>
                    <a:pt x="118" y="370"/>
                    <a:pt x="118" y="370"/>
                  </a:cubicBezTo>
                  <a:lnTo>
                    <a:pt x="86" y="353"/>
                  </a:lnTo>
                  <a:cubicBezTo>
                    <a:pt x="85" y="352"/>
                    <a:pt x="85" y="352"/>
                    <a:pt x="84" y="352"/>
                  </a:cubicBezTo>
                  <a:lnTo>
                    <a:pt x="57" y="329"/>
                  </a:lnTo>
                  <a:cubicBezTo>
                    <a:pt x="57" y="328"/>
                    <a:pt x="57" y="328"/>
                    <a:pt x="56" y="328"/>
                  </a:cubicBezTo>
                  <a:lnTo>
                    <a:pt x="34" y="301"/>
                  </a:lnTo>
                  <a:cubicBezTo>
                    <a:pt x="34" y="300"/>
                    <a:pt x="34" y="300"/>
                    <a:pt x="33" y="299"/>
                  </a:cubicBezTo>
                  <a:lnTo>
                    <a:pt x="16" y="268"/>
                  </a:lnTo>
                  <a:cubicBezTo>
                    <a:pt x="16" y="268"/>
                    <a:pt x="16" y="267"/>
                    <a:pt x="16" y="267"/>
                  </a:cubicBezTo>
                  <a:lnTo>
                    <a:pt x="5" y="232"/>
                  </a:lnTo>
                  <a:cubicBezTo>
                    <a:pt x="5" y="231"/>
                    <a:pt x="5" y="231"/>
                    <a:pt x="5" y="230"/>
                  </a:cubicBezTo>
                  <a:lnTo>
                    <a:pt x="1" y="193"/>
                  </a:lnTo>
                  <a:close/>
                  <a:moveTo>
                    <a:pt x="20" y="229"/>
                  </a:moveTo>
                  <a:lnTo>
                    <a:pt x="20" y="227"/>
                  </a:lnTo>
                  <a:lnTo>
                    <a:pt x="31" y="262"/>
                  </a:lnTo>
                  <a:lnTo>
                    <a:pt x="30" y="261"/>
                  </a:lnTo>
                  <a:lnTo>
                    <a:pt x="47" y="292"/>
                  </a:lnTo>
                  <a:lnTo>
                    <a:pt x="47" y="290"/>
                  </a:lnTo>
                  <a:lnTo>
                    <a:pt x="69" y="317"/>
                  </a:lnTo>
                  <a:lnTo>
                    <a:pt x="68" y="316"/>
                  </a:lnTo>
                  <a:lnTo>
                    <a:pt x="95" y="339"/>
                  </a:lnTo>
                  <a:lnTo>
                    <a:pt x="93" y="338"/>
                  </a:lnTo>
                  <a:lnTo>
                    <a:pt x="125" y="355"/>
                  </a:lnTo>
                  <a:lnTo>
                    <a:pt x="124" y="355"/>
                  </a:lnTo>
                  <a:lnTo>
                    <a:pt x="158" y="365"/>
                  </a:lnTo>
                  <a:lnTo>
                    <a:pt x="156" y="365"/>
                  </a:lnTo>
                  <a:lnTo>
                    <a:pt x="193" y="369"/>
                  </a:lnTo>
                  <a:lnTo>
                    <a:pt x="192" y="369"/>
                  </a:lnTo>
                  <a:lnTo>
                    <a:pt x="229" y="365"/>
                  </a:lnTo>
                  <a:lnTo>
                    <a:pt x="227" y="365"/>
                  </a:lnTo>
                  <a:lnTo>
                    <a:pt x="262" y="355"/>
                  </a:lnTo>
                  <a:lnTo>
                    <a:pt x="261" y="355"/>
                  </a:lnTo>
                  <a:lnTo>
                    <a:pt x="292" y="338"/>
                  </a:lnTo>
                  <a:lnTo>
                    <a:pt x="290" y="339"/>
                  </a:lnTo>
                  <a:lnTo>
                    <a:pt x="317" y="316"/>
                  </a:lnTo>
                  <a:lnTo>
                    <a:pt x="316" y="317"/>
                  </a:lnTo>
                  <a:lnTo>
                    <a:pt x="339" y="290"/>
                  </a:lnTo>
                  <a:lnTo>
                    <a:pt x="338" y="292"/>
                  </a:lnTo>
                  <a:lnTo>
                    <a:pt x="355" y="261"/>
                  </a:lnTo>
                  <a:lnTo>
                    <a:pt x="355" y="262"/>
                  </a:lnTo>
                  <a:lnTo>
                    <a:pt x="365" y="227"/>
                  </a:lnTo>
                  <a:lnTo>
                    <a:pt x="365" y="229"/>
                  </a:lnTo>
                  <a:lnTo>
                    <a:pt x="369" y="192"/>
                  </a:lnTo>
                  <a:lnTo>
                    <a:pt x="369" y="193"/>
                  </a:lnTo>
                  <a:lnTo>
                    <a:pt x="365" y="156"/>
                  </a:lnTo>
                  <a:lnTo>
                    <a:pt x="365" y="158"/>
                  </a:lnTo>
                  <a:lnTo>
                    <a:pt x="355" y="124"/>
                  </a:lnTo>
                  <a:lnTo>
                    <a:pt x="355" y="125"/>
                  </a:lnTo>
                  <a:lnTo>
                    <a:pt x="338" y="93"/>
                  </a:lnTo>
                  <a:lnTo>
                    <a:pt x="339" y="95"/>
                  </a:lnTo>
                  <a:lnTo>
                    <a:pt x="316" y="68"/>
                  </a:lnTo>
                  <a:lnTo>
                    <a:pt x="317" y="69"/>
                  </a:lnTo>
                  <a:lnTo>
                    <a:pt x="290" y="47"/>
                  </a:lnTo>
                  <a:lnTo>
                    <a:pt x="292" y="47"/>
                  </a:lnTo>
                  <a:lnTo>
                    <a:pt x="261" y="30"/>
                  </a:lnTo>
                  <a:lnTo>
                    <a:pt x="262" y="31"/>
                  </a:lnTo>
                  <a:lnTo>
                    <a:pt x="227" y="20"/>
                  </a:lnTo>
                  <a:lnTo>
                    <a:pt x="229" y="20"/>
                  </a:lnTo>
                  <a:lnTo>
                    <a:pt x="192" y="16"/>
                  </a:lnTo>
                  <a:lnTo>
                    <a:pt x="193" y="16"/>
                  </a:lnTo>
                  <a:lnTo>
                    <a:pt x="156" y="20"/>
                  </a:lnTo>
                  <a:lnTo>
                    <a:pt x="158" y="20"/>
                  </a:lnTo>
                  <a:lnTo>
                    <a:pt x="124" y="31"/>
                  </a:lnTo>
                  <a:lnTo>
                    <a:pt x="125" y="31"/>
                  </a:lnTo>
                  <a:lnTo>
                    <a:pt x="93" y="48"/>
                  </a:lnTo>
                  <a:lnTo>
                    <a:pt x="95" y="47"/>
                  </a:lnTo>
                  <a:lnTo>
                    <a:pt x="68" y="69"/>
                  </a:lnTo>
                  <a:lnTo>
                    <a:pt x="69" y="68"/>
                  </a:lnTo>
                  <a:lnTo>
                    <a:pt x="47" y="95"/>
                  </a:lnTo>
                  <a:lnTo>
                    <a:pt x="48" y="93"/>
                  </a:lnTo>
                  <a:lnTo>
                    <a:pt x="31" y="125"/>
                  </a:lnTo>
                  <a:lnTo>
                    <a:pt x="31" y="124"/>
                  </a:lnTo>
                  <a:lnTo>
                    <a:pt x="20" y="158"/>
                  </a:lnTo>
                  <a:lnTo>
                    <a:pt x="20" y="156"/>
                  </a:lnTo>
                  <a:lnTo>
                    <a:pt x="16" y="193"/>
                  </a:lnTo>
                  <a:lnTo>
                    <a:pt x="16" y="192"/>
                  </a:lnTo>
                  <a:lnTo>
                    <a:pt x="20" y="229"/>
                  </a:lnTo>
                  <a:close/>
                </a:path>
              </a:pathLst>
            </a:custGeom>
            <a:solidFill>
              <a:srgbClr val="000000"/>
            </a:solidFill>
            <a:ln w="0">
              <a:solidFill>
                <a:srgbClr val="000000"/>
              </a:solidFill>
              <a:round/>
              <a:headEnd/>
              <a:tailEnd/>
            </a:ln>
          </p:spPr>
          <p:txBody>
            <a:bodyPr/>
            <a:lstStyle/>
            <a:p>
              <a:endParaRPr lang="en-US"/>
            </a:p>
          </p:txBody>
        </p:sp>
        <p:sp>
          <p:nvSpPr>
            <p:cNvPr id="42158" name="Rectangle 186"/>
            <p:cNvSpPr>
              <a:spLocks noChangeArrowheads="1"/>
            </p:cNvSpPr>
            <p:nvPr/>
          </p:nvSpPr>
          <p:spPr bwMode="auto">
            <a:xfrm>
              <a:off x="3755" y="2852"/>
              <a:ext cx="666" cy="104"/>
            </a:xfrm>
            <a:prstGeom prst="rect">
              <a:avLst/>
            </a:prstGeom>
            <a:noFill/>
            <a:ln w="9525">
              <a:noFill/>
              <a:miter lim="800000"/>
              <a:headEnd/>
              <a:tailEnd/>
            </a:ln>
          </p:spPr>
          <p:txBody>
            <a:bodyPr wrap="none" lIns="0" tIns="0" rIns="0" bIns="0">
              <a:spAutoFit/>
            </a:bodyPr>
            <a:lstStyle/>
            <a:p>
              <a:r>
                <a:rPr lang="en-US" sz="900" b="1">
                  <a:solidFill>
                    <a:srgbClr val="000000"/>
                  </a:solidFill>
                </a:rPr>
                <a:t>National ID Market</a:t>
              </a:r>
              <a:endParaRPr lang="en-US"/>
            </a:p>
          </p:txBody>
        </p:sp>
        <p:sp>
          <p:nvSpPr>
            <p:cNvPr id="42159" name="Rectangle 187"/>
            <p:cNvSpPr>
              <a:spLocks noChangeArrowheads="1"/>
            </p:cNvSpPr>
            <p:nvPr/>
          </p:nvSpPr>
          <p:spPr bwMode="auto">
            <a:xfrm>
              <a:off x="3752" y="2923"/>
              <a:ext cx="622" cy="9"/>
            </a:xfrm>
            <a:prstGeom prst="rect">
              <a:avLst/>
            </a:prstGeom>
            <a:solidFill>
              <a:srgbClr val="000000"/>
            </a:solidFill>
            <a:ln w="9525">
              <a:noFill/>
              <a:miter lim="800000"/>
              <a:headEnd/>
              <a:tailEnd/>
            </a:ln>
          </p:spPr>
          <p:txBody>
            <a:bodyPr/>
            <a:lstStyle/>
            <a:p>
              <a:endParaRPr lang="en-US"/>
            </a:p>
          </p:txBody>
        </p:sp>
        <p:sp>
          <p:nvSpPr>
            <p:cNvPr id="42160" name="Rectangle 188"/>
            <p:cNvSpPr>
              <a:spLocks noChangeArrowheads="1"/>
            </p:cNvSpPr>
            <p:nvPr/>
          </p:nvSpPr>
          <p:spPr bwMode="auto">
            <a:xfrm>
              <a:off x="3755" y="2978"/>
              <a:ext cx="1620" cy="262"/>
            </a:xfrm>
            <a:prstGeom prst="rect">
              <a:avLst/>
            </a:prstGeom>
            <a:noFill/>
            <a:ln w="9525">
              <a:noFill/>
              <a:miter lim="800000"/>
              <a:headEnd/>
              <a:tailEnd/>
            </a:ln>
          </p:spPr>
          <p:txBody>
            <a:bodyPr lIns="0" tIns="0" rIns="0" bIns="0">
              <a:spAutoFit/>
            </a:bodyPr>
            <a:lstStyle/>
            <a:p>
              <a:r>
                <a:rPr lang="en-US" sz="900" b="1">
                  <a:solidFill>
                    <a:srgbClr val="000000"/>
                  </a:solidFill>
                </a:rPr>
                <a:t>Continuous IDXB</a:t>
              </a:r>
              <a:endParaRPr lang="cs-CZ" sz="900" b="1">
                <a:solidFill>
                  <a:srgbClr val="000000"/>
                </a:solidFill>
              </a:endParaRPr>
            </a:p>
            <a:p>
              <a:endParaRPr lang="en-US"/>
            </a:p>
          </p:txBody>
        </p:sp>
        <p:sp>
          <p:nvSpPr>
            <p:cNvPr id="42161" name="Rectangle 190"/>
            <p:cNvSpPr>
              <a:spLocks noChangeArrowheads="1"/>
            </p:cNvSpPr>
            <p:nvPr/>
          </p:nvSpPr>
          <p:spPr bwMode="auto">
            <a:xfrm>
              <a:off x="3755" y="3233"/>
              <a:ext cx="1430" cy="87"/>
            </a:xfrm>
            <a:prstGeom prst="rect">
              <a:avLst/>
            </a:prstGeom>
            <a:noFill/>
            <a:ln w="9525">
              <a:noFill/>
              <a:miter lim="800000"/>
              <a:headEnd/>
              <a:tailEnd/>
            </a:ln>
          </p:spPr>
          <p:txBody>
            <a:bodyPr wrap="none" lIns="0" tIns="0" rIns="0" bIns="0">
              <a:spAutoFit/>
            </a:bodyPr>
            <a:lstStyle/>
            <a:p>
              <a:r>
                <a:rPr lang="en-US" sz="900" b="1">
                  <a:solidFill>
                    <a:srgbClr val="000000"/>
                  </a:solidFill>
                </a:rPr>
                <a:t>Continuous </a:t>
              </a:r>
              <a:r>
                <a:rPr lang="cs-CZ" sz="900" b="1">
                  <a:solidFill>
                    <a:srgbClr val="000000"/>
                  </a:solidFill>
                </a:rPr>
                <a:t>internal </a:t>
              </a:r>
              <a:r>
                <a:rPr lang="en-US" sz="900" b="1">
                  <a:solidFill>
                    <a:srgbClr val="000000"/>
                  </a:solidFill>
                </a:rPr>
                <a:t>ID (not cross-border)</a:t>
              </a:r>
              <a:endParaRPr lang="en-US"/>
            </a:p>
          </p:txBody>
        </p:sp>
        <p:sp>
          <p:nvSpPr>
            <p:cNvPr id="42162" name="Rectangle 191"/>
            <p:cNvSpPr>
              <a:spLocks noChangeArrowheads="1"/>
            </p:cNvSpPr>
            <p:nvPr/>
          </p:nvSpPr>
          <p:spPr bwMode="auto">
            <a:xfrm>
              <a:off x="3755" y="3359"/>
              <a:ext cx="868" cy="87"/>
            </a:xfrm>
            <a:prstGeom prst="rect">
              <a:avLst/>
            </a:prstGeom>
            <a:noFill/>
            <a:ln w="9525">
              <a:noFill/>
              <a:miter lim="800000"/>
              <a:headEnd/>
              <a:tailEnd/>
            </a:ln>
          </p:spPr>
          <p:txBody>
            <a:bodyPr wrap="none" lIns="0" tIns="0" rIns="0" bIns="0">
              <a:spAutoFit/>
            </a:bodyPr>
            <a:lstStyle/>
            <a:p>
              <a:r>
                <a:rPr lang="en-US" sz="900" b="1">
                  <a:solidFill>
                    <a:srgbClr val="000000"/>
                  </a:solidFill>
                </a:rPr>
                <a:t>Cross border ID auctions</a:t>
              </a:r>
              <a:endParaRPr lang="en-US"/>
            </a:p>
          </p:txBody>
        </p:sp>
        <p:sp>
          <p:nvSpPr>
            <p:cNvPr id="42163" name="Rectangle 192"/>
            <p:cNvSpPr>
              <a:spLocks noChangeArrowheads="1"/>
            </p:cNvSpPr>
            <p:nvPr/>
          </p:nvSpPr>
          <p:spPr bwMode="auto">
            <a:xfrm>
              <a:off x="3755" y="3482"/>
              <a:ext cx="130" cy="103"/>
            </a:xfrm>
            <a:prstGeom prst="rect">
              <a:avLst/>
            </a:prstGeom>
            <a:noFill/>
            <a:ln w="9525">
              <a:noFill/>
              <a:miter lim="800000"/>
              <a:headEnd/>
              <a:tailEnd/>
            </a:ln>
          </p:spPr>
          <p:txBody>
            <a:bodyPr wrap="none" lIns="0" tIns="0" rIns="0" bIns="0">
              <a:spAutoFit/>
            </a:bodyPr>
            <a:lstStyle/>
            <a:p>
              <a:r>
                <a:rPr lang="en-US" sz="900" b="1">
                  <a:solidFill>
                    <a:srgbClr val="000000"/>
                  </a:solidFill>
                </a:rPr>
                <a:t>No</a:t>
              </a:r>
              <a:endParaRPr lang="en-US"/>
            </a:p>
          </p:txBody>
        </p:sp>
        <p:sp>
          <p:nvSpPr>
            <p:cNvPr id="42164" name="Rectangle 193"/>
            <p:cNvSpPr>
              <a:spLocks noChangeArrowheads="1"/>
            </p:cNvSpPr>
            <p:nvPr/>
          </p:nvSpPr>
          <p:spPr bwMode="auto">
            <a:xfrm>
              <a:off x="3867" y="3482"/>
              <a:ext cx="444" cy="87"/>
            </a:xfrm>
            <a:prstGeom prst="rect">
              <a:avLst/>
            </a:prstGeom>
            <a:noFill/>
            <a:ln w="9525">
              <a:noFill/>
              <a:miter lim="800000"/>
              <a:headEnd/>
              <a:tailEnd/>
            </a:ln>
          </p:spPr>
          <p:txBody>
            <a:bodyPr wrap="none" lIns="0" tIns="0" rIns="0" bIns="0">
              <a:spAutoFit/>
            </a:bodyPr>
            <a:lstStyle/>
            <a:p>
              <a:r>
                <a:rPr lang="en-US" sz="900" b="1">
                  <a:solidFill>
                    <a:srgbClr val="000000"/>
                  </a:solidFill>
                </a:rPr>
                <a:t>PX ID Market</a:t>
              </a:r>
              <a:endParaRPr lang="en-US"/>
            </a:p>
          </p:txBody>
        </p:sp>
        <p:sp>
          <p:nvSpPr>
            <p:cNvPr id="42165" name="Freeform 195"/>
            <p:cNvSpPr>
              <a:spLocks noEditPoints="1"/>
            </p:cNvSpPr>
            <p:nvPr/>
          </p:nvSpPr>
          <p:spPr bwMode="auto">
            <a:xfrm>
              <a:off x="4189" y="2023"/>
              <a:ext cx="243" cy="257"/>
            </a:xfrm>
            <a:custGeom>
              <a:avLst/>
              <a:gdLst>
                <a:gd name="T0" fmla="*/ 0 w 864"/>
                <a:gd name="T1" fmla="*/ 8 h 912"/>
                <a:gd name="T2" fmla="*/ 1 w 864"/>
                <a:gd name="T3" fmla="*/ 6 h 912"/>
                <a:gd name="T4" fmla="*/ 3 w 864"/>
                <a:gd name="T5" fmla="*/ 3 h 912"/>
                <a:gd name="T6" fmla="*/ 4 w 864"/>
                <a:gd name="T7" fmla="*/ 2 h 912"/>
                <a:gd name="T8" fmla="*/ 8 w 864"/>
                <a:gd name="T9" fmla="*/ 0 h 912"/>
                <a:gd name="T10" fmla="*/ 10 w 864"/>
                <a:gd name="T11" fmla="*/ 0 h 912"/>
                <a:gd name="T12" fmla="*/ 14 w 864"/>
                <a:gd name="T13" fmla="*/ 1 h 912"/>
                <a:gd name="T14" fmla="*/ 15 w 864"/>
                <a:gd name="T15" fmla="*/ 2 h 912"/>
                <a:gd name="T16" fmla="*/ 17 w 864"/>
                <a:gd name="T17" fmla="*/ 5 h 912"/>
                <a:gd name="T18" fmla="*/ 19 w 864"/>
                <a:gd name="T19" fmla="*/ 6 h 912"/>
                <a:gd name="T20" fmla="*/ 19 w 864"/>
                <a:gd name="T21" fmla="*/ 10 h 912"/>
                <a:gd name="T22" fmla="*/ 19 w 864"/>
                <a:gd name="T23" fmla="*/ 12 h 912"/>
                <a:gd name="T24" fmla="*/ 18 w 864"/>
                <a:gd name="T25" fmla="*/ 16 h 912"/>
                <a:gd name="T26" fmla="*/ 17 w 864"/>
                <a:gd name="T27" fmla="*/ 17 h 912"/>
                <a:gd name="T28" fmla="*/ 14 w 864"/>
                <a:gd name="T29" fmla="*/ 20 h 912"/>
                <a:gd name="T30" fmla="*/ 12 w 864"/>
                <a:gd name="T31" fmla="*/ 20 h 912"/>
                <a:gd name="T32" fmla="*/ 8 w 864"/>
                <a:gd name="T33" fmla="*/ 20 h 912"/>
                <a:gd name="T34" fmla="*/ 6 w 864"/>
                <a:gd name="T35" fmla="*/ 20 h 912"/>
                <a:gd name="T36" fmla="*/ 3 w 864"/>
                <a:gd name="T37" fmla="*/ 17 h 912"/>
                <a:gd name="T38" fmla="*/ 2 w 864"/>
                <a:gd name="T39" fmla="*/ 16 h 912"/>
                <a:gd name="T40" fmla="*/ 0 w 864"/>
                <a:gd name="T41" fmla="*/ 12 h 912"/>
                <a:gd name="T42" fmla="*/ 1 w 864"/>
                <a:gd name="T43" fmla="*/ 12 h 912"/>
                <a:gd name="T44" fmla="*/ 1 w 864"/>
                <a:gd name="T45" fmla="*/ 14 h 912"/>
                <a:gd name="T46" fmla="*/ 3 w 864"/>
                <a:gd name="T47" fmla="*/ 17 h 912"/>
                <a:gd name="T48" fmla="*/ 5 w 864"/>
                <a:gd name="T49" fmla="*/ 18 h 912"/>
                <a:gd name="T50" fmla="*/ 8 w 864"/>
                <a:gd name="T51" fmla="*/ 20 h 912"/>
                <a:gd name="T52" fmla="*/ 10 w 864"/>
                <a:gd name="T53" fmla="*/ 20 h 912"/>
                <a:gd name="T54" fmla="*/ 13 w 864"/>
                <a:gd name="T55" fmla="*/ 19 h 912"/>
                <a:gd name="T56" fmla="*/ 15 w 864"/>
                <a:gd name="T57" fmla="*/ 18 h 912"/>
                <a:gd name="T58" fmla="*/ 17 w 864"/>
                <a:gd name="T59" fmla="*/ 16 h 912"/>
                <a:gd name="T60" fmla="*/ 18 w 864"/>
                <a:gd name="T61" fmla="*/ 14 h 912"/>
                <a:gd name="T62" fmla="*/ 19 w 864"/>
                <a:gd name="T63" fmla="*/ 10 h 912"/>
                <a:gd name="T64" fmla="*/ 19 w 864"/>
                <a:gd name="T65" fmla="*/ 8 h 912"/>
                <a:gd name="T66" fmla="*/ 17 w 864"/>
                <a:gd name="T67" fmla="*/ 5 h 912"/>
                <a:gd name="T68" fmla="*/ 16 w 864"/>
                <a:gd name="T69" fmla="*/ 3 h 912"/>
                <a:gd name="T70" fmla="*/ 13 w 864"/>
                <a:gd name="T71" fmla="*/ 1 h 912"/>
                <a:gd name="T72" fmla="*/ 12 w 864"/>
                <a:gd name="T73" fmla="*/ 1 h 912"/>
                <a:gd name="T74" fmla="*/ 8 w 864"/>
                <a:gd name="T75" fmla="*/ 1 h 912"/>
                <a:gd name="T76" fmla="*/ 6 w 864"/>
                <a:gd name="T77" fmla="*/ 1 h 912"/>
                <a:gd name="T78" fmla="*/ 3 w 864"/>
                <a:gd name="T79" fmla="*/ 3 h 912"/>
                <a:gd name="T80" fmla="*/ 2 w 864"/>
                <a:gd name="T81" fmla="*/ 5 h 912"/>
                <a:gd name="T82" fmla="*/ 1 w 864"/>
                <a:gd name="T83" fmla="*/ 8 h 912"/>
                <a:gd name="T84" fmla="*/ 0 w 864"/>
                <a:gd name="T85" fmla="*/ 10 h 9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64"/>
                <a:gd name="T130" fmla="*/ 0 h 912"/>
                <a:gd name="T131" fmla="*/ 864 w 864"/>
                <a:gd name="T132" fmla="*/ 912 h 91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64" h="912">
                  <a:moveTo>
                    <a:pt x="0" y="457"/>
                  </a:moveTo>
                  <a:cubicBezTo>
                    <a:pt x="0" y="457"/>
                    <a:pt x="0" y="456"/>
                    <a:pt x="0" y="456"/>
                  </a:cubicBezTo>
                  <a:lnTo>
                    <a:pt x="9" y="366"/>
                  </a:lnTo>
                  <a:cubicBezTo>
                    <a:pt x="10" y="365"/>
                    <a:pt x="10" y="365"/>
                    <a:pt x="10" y="364"/>
                  </a:cubicBezTo>
                  <a:lnTo>
                    <a:pt x="34" y="280"/>
                  </a:lnTo>
                  <a:cubicBezTo>
                    <a:pt x="34" y="280"/>
                    <a:pt x="34" y="279"/>
                    <a:pt x="34" y="279"/>
                  </a:cubicBezTo>
                  <a:lnTo>
                    <a:pt x="73" y="203"/>
                  </a:lnTo>
                  <a:cubicBezTo>
                    <a:pt x="74" y="202"/>
                    <a:pt x="74" y="202"/>
                    <a:pt x="74" y="202"/>
                  </a:cubicBezTo>
                  <a:lnTo>
                    <a:pt x="126" y="135"/>
                  </a:lnTo>
                  <a:cubicBezTo>
                    <a:pt x="126" y="134"/>
                    <a:pt x="127" y="134"/>
                    <a:pt x="127" y="133"/>
                  </a:cubicBezTo>
                  <a:lnTo>
                    <a:pt x="190" y="79"/>
                  </a:lnTo>
                  <a:cubicBezTo>
                    <a:pt x="191" y="79"/>
                    <a:pt x="191" y="79"/>
                    <a:pt x="191" y="79"/>
                  </a:cubicBezTo>
                  <a:lnTo>
                    <a:pt x="263" y="37"/>
                  </a:lnTo>
                  <a:cubicBezTo>
                    <a:pt x="264" y="36"/>
                    <a:pt x="264" y="36"/>
                    <a:pt x="265" y="36"/>
                  </a:cubicBezTo>
                  <a:lnTo>
                    <a:pt x="345" y="10"/>
                  </a:lnTo>
                  <a:cubicBezTo>
                    <a:pt x="346" y="10"/>
                    <a:pt x="346" y="10"/>
                    <a:pt x="347" y="10"/>
                  </a:cubicBezTo>
                  <a:lnTo>
                    <a:pt x="432" y="1"/>
                  </a:lnTo>
                  <a:cubicBezTo>
                    <a:pt x="432" y="0"/>
                    <a:pt x="433" y="0"/>
                    <a:pt x="433" y="1"/>
                  </a:cubicBezTo>
                  <a:lnTo>
                    <a:pt x="519" y="10"/>
                  </a:lnTo>
                  <a:cubicBezTo>
                    <a:pt x="520" y="10"/>
                    <a:pt x="520" y="10"/>
                    <a:pt x="521" y="10"/>
                  </a:cubicBezTo>
                  <a:lnTo>
                    <a:pt x="600" y="36"/>
                  </a:lnTo>
                  <a:cubicBezTo>
                    <a:pt x="600" y="36"/>
                    <a:pt x="601" y="36"/>
                    <a:pt x="601" y="37"/>
                  </a:cubicBezTo>
                  <a:lnTo>
                    <a:pt x="673" y="79"/>
                  </a:lnTo>
                  <a:cubicBezTo>
                    <a:pt x="674" y="79"/>
                    <a:pt x="674" y="79"/>
                    <a:pt x="675" y="79"/>
                  </a:cubicBezTo>
                  <a:lnTo>
                    <a:pt x="738" y="133"/>
                  </a:lnTo>
                  <a:cubicBezTo>
                    <a:pt x="738" y="134"/>
                    <a:pt x="738" y="134"/>
                    <a:pt x="739" y="135"/>
                  </a:cubicBezTo>
                  <a:lnTo>
                    <a:pt x="791" y="202"/>
                  </a:lnTo>
                  <a:cubicBezTo>
                    <a:pt x="791" y="202"/>
                    <a:pt x="791" y="202"/>
                    <a:pt x="792" y="203"/>
                  </a:cubicBezTo>
                  <a:lnTo>
                    <a:pt x="831" y="279"/>
                  </a:lnTo>
                  <a:cubicBezTo>
                    <a:pt x="831" y="279"/>
                    <a:pt x="831" y="280"/>
                    <a:pt x="831" y="280"/>
                  </a:cubicBezTo>
                  <a:lnTo>
                    <a:pt x="855" y="364"/>
                  </a:lnTo>
                  <a:cubicBezTo>
                    <a:pt x="855" y="365"/>
                    <a:pt x="855" y="365"/>
                    <a:pt x="855" y="366"/>
                  </a:cubicBezTo>
                  <a:lnTo>
                    <a:pt x="864" y="456"/>
                  </a:lnTo>
                  <a:cubicBezTo>
                    <a:pt x="864" y="456"/>
                    <a:pt x="864" y="457"/>
                    <a:pt x="864" y="457"/>
                  </a:cubicBezTo>
                  <a:lnTo>
                    <a:pt x="855" y="547"/>
                  </a:lnTo>
                  <a:cubicBezTo>
                    <a:pt x="855" y="548"/>
                    <a:pt x="855" y="548"/>
                    <a:pt x="855" y="549"/>
                  </a:cubicBezTo>
                  <a:lnTo>
                    <a:pt x="831" y="634"/>
                  </a:lnTo>
                  <a:cubicBezTo>
                    <a:pt x="831" y="634"/>
                    <a:pt x="831" y="635"/>
                    <a:pt x="831" y="635"/>
                  </a:cubicBezTo>
                  <a:lnTo>
                    <a:pt x="792" y="711"/>
                  </a:lnTo>
                  <a:cubicBezTo>
                    <a:pt x="791" y="712"/>
                    <a:pt x="791" y="712"/>
                    <a:pt x="791" y="712"/>
                  </a:cubicBezTo>
                  <a:lnTo>
                    <a:pt x="739" y="778"/>
                  </a:lnTo>
                  <a:cubicBezTo>
                    <a:pt x="738" y="779"/>
                    <a:pt x="738" y="779"/>
                    <a:pt x="738" y="779"/>
                  </a:cubicBezTo>
                  <a:lnTo>
                    <a:pt x="675" y="834"/>
                  </a:lnTo>
                  <a:cubicBezTo>
                    <a:pt x="674" y="835"/>
                    <a:pt x="674" y="835"/>
                    <a:pt x="673" y="835"/>
                  </a:cubicBezTo>
                  <a:lnTo>
                    <a:pt x="601" y="876"/>
                  </a:lnTo>
                  <a:cubicBezTo>
                    <a:pt x="601" y="877"/>
                    <a:pt x="600" y="877"/>
                    <a:pt x="600" y="877"/>
                  </a:cubicBezTo>
                  <a:lnTo>
                    <a:pt x="521" y="903"/>
                  </a:lnTo>
                  <a:cubicBezTo>
                    <a:pt x="520" y="903"/>
                    <a:pt x="520" y="903"/>
                    <a:pt x="519" y="903"/>
                  </a:cubicBezTo>
                  <a:lnTo>
                    <a:pt x="433" y="912"/>
                  </a:lnTo>
                  <a:cubicBezTo>
                    <a:pt x="433" y="912"/>
                    <a:pt x="432" y="912"/>
                    <a:pt x="432" y="912"/>
                  </a:cubicBezTo>
                  <a:lnTo>
                    <a:pt x="347" y="903"/>
                  </a:lnTo>
                  <a:cubicBezTo>
                    <a:pt x="346" y="903"/>
                    <a:pt x="346" y="903"/>
                    <a:pt x="345" y="903"/>
                  </a:cubicBezTo>
                  <a:lnTo>
                    <a:pt x="265" y="877"/>
                  </a:lnTo>
                  <a:cubicBezTo>
                    <a:pt x="264" y="877"/>
                    <a:pt x="264" y="877"/>
                    <a:pt x="264" y="876"/>
                  </a:cubicBezTo>
                  <a:lnTo>
                    <a:pt x="192" y="835"/>
                  </a:lnTo>
                  <a:cubicBezTo>
                    <a:pt x="191" y="835"/>
                    <a:pt x="191" y="835"/>
                    <a:pt x="190" y="834"/>
                  </a:cubicBezTo>
                  <a:lnTo>
                    <a:pt x="127" y="779"/>
                  </a:lnTo>
                  <a:cubicBezTo>
                    <a:pt x="127" y="779"/>
                    <a:pt x="126" y="779"/>
                    <a:pt x="126" y="778"/>
                  </a:cubicBezTo>
                  <a:lnTo>
                    <a:pt x="74" y="712"/>
                  </a:lnTo>
                  <a:cubicBezTo>
                    <a:pt x="74" y="712"/>
                    <a:pt x="74" y="712"/>
                    <a:pt x="73" y="711"/>
                  </a:cubicBezTo>
                  <a:lnTo>
                    <a:pt x="34" y="635"/>
                  </a:lnTo>
                  <a:cubicBezTo>
                    <a:pt x="34" y="635"/>
                    <a:pt x="34" y="634"/>
                    <a:pt x="34" y="634"/>
                  </a:cubicBezTo>
                  <a:lnTo>
                    <a:pt x="10" y="549"/>
                  </a:lnTo>
                  <a:cubicBezTo>
                    <a:pt x="10" y="548"/>
                    <a:pt x="10" y="548"/>
                    <a:pt x="9" y="547"/>
                  </a:cubicBezTo>
                  <a:lnTo>
                    <a:pt x="0" y="457"/>
                  </a:lnTo>
                  <a:close/>
                  <a:moveTo>
                    <a:pt x="25" y="546"/>
                  </a:moveTo>
                  <a:lnTo>
                    <a:pt x="25" y="544"/>
                  </a:lnTo>
                  <a:lnTo>
                    <a:pt x="49" y="629"/>
                  </a:lnTo>
                  <a:lnTo>
                    <a:pt x="49" y="628"/>
                  </a:lnTo>
                  <a:lnTo>
                    <a:pt x="88" y="704"/>
                  </a:lnTo>
                  <a:lnTo>
                    <a:pt x="87" y="703"/>
                  </a:lnTo>
                  <a:lnTo>
                    <a:pt x="139" y="769"/>
                  </a:lnTo>
                  <a:lnTo>
                    <a:pt x="138" y="767"/>
                  </a:lnTo>
                  <a:lnTo>
                    <a:pt x="201" y="822"/>
                  </a:lnTo>
                  <a:lnTo>
                    <a:pt x="199" y="822"/>
                  </a:lnTo>
                  <a:lnTo>
                    <a:pt x="271" y="863"/>
                  </a:lnTo>
                  <a:lnTo>
                    <a:pt x="270" y="862"/>
                  </a:lnTo>
                  <a:lnTo>
                    <a:pt x="350" y="888"/>
                  </a:lnTo>
                  <a:lnTo>
                    <a:pt x="348" y="888"/>
                  </a:lnTo>
                  <a:lnTo>
                    <a:pt x="433" y="897"/>
                  </a:lnTo>
                  <a:lnTo>
                    <a:pt x="432" y="897"/>
                  </a:lnTo>
                  <a:lnTo>
                    <a:pt x="518" y="888"/>
                  </a:lnTo>
                  <a:lnTo>
                    <a:pt x="516" y="888"/>
                  </a:lnTo>
                  <a:lnTo>
                    <a:pt x="595" y="862"/>
                  </a:lnTo>
                  <a:lnTo>
                    <a:pt x="594" y="863"/>
                  </a:lnTo>
                  <a:lnTo>
                    <a:pt x="666" y="822"/>
                  </a:lnTo>
                  <a:lnTo>
                    <a:pt x="664" y="822"/>
                  </a:lnTo>
                  <a:lnTo>
                    <a:pt x="727" y="767"/>
                  </a:lnTo>
                  <a:lnTo>
                    <a:pt x="726" y="769"/>
                  </a:lnTo>
                  <a:lnTo>
                    <a:pt x="778" y="703"/>
                  </a:lnTo>
                  <a:lnTo>
                    <a:pt x="777" y="704"/>
                  </a:lnTo>
                  <a:lnTo>
                    <a:pt x="816" y="628"/>
                  </a:lnTo>
                  <a:lnTo>
                    <a:pt x="816" y="629"/>
                  </a:lnTo>
                  <a:lnTo>
                    <a:pt x="840" y="544"/>
                  </a:lnTo>
                  <a:lnTo>
                    <a:pt x="839" y="546"/>
                  </a:lnTo>
                  <a:lnTo>
                    <a:pt x="848" y="456"/>
                  </a:lnTo>
                  <a:lnTo>
                    <a:pt x="848" y="457"/>
                  </a:lnTo>
                  <a:lnTo>
                    <a:pt x="839" y="367"/>
                  </a:lnTo>
                  <a:lnTo>
                    <a:pt x="840" y="369"/>
                  </a:lnTo>
                  <a:lnTo>
                    <a:pt x="816" y="285"/>
                  </a:lnTo>
                  <a:lnTo>
                    <a:pt x="816" y="286"/>
                  </a:lnTo>
                  <a:lnTo>
                    <a:pt x="777" y="210"/>
                  </a:lnTo>
                  <a:lnTo>
                    <a:pt x="778" y="211"/>
                  </a:lnTo>
                  <a:lnTo>
                    <a:pt x="726" y="144"/>
                  </a:lnTo>
                  <a:lnTo>
                    <a:pt x="727" y="146"/>
                  </a:lnTo>
                  <a:lnTo>
                    <a:pt x="664" y="92"/>
                  </a:lnTo>
                  <a:lnTo>
                    <a:pt x="665" y="92"/>
                  </a:lnTo>
                  <a:lnTo>
                    <a:pt x="593" y="50"/>
                  </a:lnTo>
                  <a:lnTo>
                    <a:pt x="595" y="51"/>
                  </a:lnTo>
                  <a:lnTo>
                    <a:pt x="516" y="25"/>
                  </a:lnTo>
                  <a:lnTo>
                    <a:pt x="518" y="25"/>
                  </a:lnTo>
                  <a:lnTo>
                    <a:pt x="432" y="16"/>
                  </a:lnTo>
                  <a:lnTo>
                    <a:pt x="433" y="16"/>
                  </a:lnTo>
                  <a:lnTo>
                    <a:pt x="348" y="25"/>
                  </a:lnTo>
                  <a:lnTo>
                    <a:pt x="350" y="25"/>
                  </a:lnTo>
                  <a:lnTo>
                    <a:pt x="270" y="51"/>
                  </a:lnTo>
                  <a:lnTo>
                    <a:pt x="271" y="50"/>
                  </a:lnTo>
                  <a:lnTo>
                    <a:pt x="199" y="92"/>
                  </a:lnTo>
                  <a:lnTo>
                    <a:pt x="201" y="92"/>
                  </a:lnTo>
                  <a:lnTo>
                    <a:pt x="138" y="146"/>
                  </a:lnTo>
                  <a:lnTo>
                    <a:pt x="139" y="144"/>
                  </a:lnTo>
                  <a:lnTo>
                    <a:pt x="87" y="211"/>
                  </a:lnTo>
                  <a:lnTo>
                    <a:pt x="88" y="210"/>
                  </a:lnTo>
                  <a:lnTo>
                    <a:pt x="49" y="286"/>
                  </a:lnTo>
                  <a:lnTo>
                    <a:pt x="49" y="285"/>
                  </a:lnTo>
                  <a:lnTo>
                    <a:pt x="25" y="369"/>
                  </a:lnTo>
                  <a:lnTo>
                    <a:pt x="25" y="367"/>
                  </a:lnTo>
                  <a:lnTo>
                    <a:pt x="16" y="457"/>
                  </a:lnTo>
                  <a:lnTo>
                    <a:pt x="16" y="456"/>
                  </a:lnTo>
                  <a:lnTo>
                    <a:pt x="25" y="546"/>
                  </a:lnTo>
                  <a:close/>
                </a:path>
              </a:pathLst>
            </a:custGeom>
            <a:solidFill>
              <a:srgbClr val="000000"/>
            </a:solidFill>
            <a:ln w="0">
              <a:solidFill>
                <a:srgbClr val="000000"/>
              </a:solidFill>
              <a:round/>
              <a:headEnd/>
              <a:tailEnd/>
            </a:ln>
          </p:spPr>
          <p:txBody>
            <a:bodyPr/>
            <a:lstStyle/>
            <a:p>
              <a:endParaRPr lang="en-US"/>
            </a:p>
          </p:txBody>
        </p:sp>
        <p:sp>
          <p:nvSpPr>
            <p:cNvPr id="42166" name="Freeform 197"/>
            <p:cNvSpPr>
              <a:spLocks noEditPoints="1"/>
            </p:cNvSpPr>
            <p:nvPr/>
          </p:nvSpPr>
          <p:spPr bwMode="auto">
            <a:xfrm>
              <a:off x="4189" y="2023"/>
              <a:ext cx="243" cy="257"/>
            </a:xfrm>
            <a:custGeom>
              <a:avLst/>
              <a:gdLst>
                <a:gd name="T0" fmla="*/ 0 w 864"/>
                <a:gd name="T1" fmla="*/ 8 h 912"/>
                <a:gd name="T2" fmla="*/ 1 w 864"/>
                <a:gd name="T3" fmla="*/ 6 h 912"/>
                <a:gd name="T4" fmla="*/ 3 w 864"/>
                <a:gd name="T5" fmla="*/ 3 h 912"/>
                <a:gd name="T6" fmla="*/ 4 w 864"/>
                <a:gd name="T7" fmla="*/ 2 h 912"/>
                <a:gd name="T8" fmla="*/ 8 w 864"/>
                <a:gd name="T9" fmla="*/ 0 h 912"/>
                <a:gd name="T10" fmla="*/ 10 w 864"/>
                <a:gd name="T11" fmla="*/ 0 h 912"/>
                <a:gd name="T12" fmla="*/ 14 w 864"/>
                <a:gd name="T13" fmla="*/ 1 h 912"/>
                <a:gd name="T14" fmla="*/ 15 w 864"/>
                <a:gd name="T15" fmla="*/ 2 h 912"/>
                <a:gd name="T16" fmla="*/ 17 w 864"/>
                <a:gd name="T17" fmla="*/ 5 h 912"/>
                <a:gd name="T18" fmla="*/ 19 w 864"/>
                <a:gd name="T19" fmla="*/ 6 h 912"/>
                <a:gd name="T20" fmla="*/ 19 w 864"/>
                <a:gd name="T21" fmla="*/ 10 h 912"/>
                <a:gd name="T22" fmla="*/ 19 w 864"/>
                <a:gd name="T23" fmla="*/ 12 h 912"/>
                <a:gd name="T24" fmla="*/ 18 w 864"/>
                <a:gd name="T25" fmla="*/ 16 h 912"/>
                <a:gd name="T26" fmla="*/ 17 w 864"/>
                <a:gd name="T27" fmla="*/ 17 h 912"/>
                <a:gd name="T28" fmla="*/ 14 w 864"/>
                <a:gd name="T29" fmla="*/ 20 h 912"/>
                <a:gd name="T30" fmla="*/ 12 w 864"/>
                <a:gd name="T31" fmla="*/ 20 h 912"/>
                <a:gd name="T32" fmla="*/ 8 w 864"/>
                <a:gd name="T33" fmla="*/ 20 h 912"/>
                <a:gd name="T34" fmla="*/ 6 w 864"/>
                <a:gd name="T35" fmla="*/ 20 h 912"/>
                <a:gd name="T36" fmla="*/ 3 w 864"/>
                <a:gd name="T37" fmla="*/ 17 h 912"/>
                <a:gd name="T38" fmla="*/ 2 w 864"/>
                <a:gd name="T39" fmla="*/ 16 h 912"/>
                <a:gd name="T40" fmla="*/ 0 w 864"/>
                <a:gd name="T41" fmla="*/ 12 h 912"/>
                <a:gd name="T42" fmla="*/ 1 w 864"/>
                <a:gd name="T43" fmla="*/ 12 h 912"/>
                <a:gd name="T44" fmla="*/ 1 w 864"/>
                <a:gd name="T45" fmla="*/ 14 h 912"/>
                <a:gd name="T46" fmla="*/ 3 w 864"/>
                <a:gd name="T47" fmla="*/ 17 h 912"/>
                <a:gd name="T48" fmla="*/ 5 w 864"/>
                <a:gd name="T49" fmla="*/ 18 h 912"/>
                <a:gd name="T50" fmla="*/ 8 w 864"/>
                <a:gd name="T51" fmla="*/ 20 h 912"/>
                <a:gd name="T52" fmla="*/ 10 w 864"/>
                <a:gd name="T53" fmla="*/ 20 h 912"/>
                <a:gd name="T54" fmla="*/ 13 w 864"/>
                <a:gd name="T55" fmla="*/ 19 h 912"/>
                <a:gd name="T56" fmla="*/ 15 w 864"/>
                <a:gd name="T57" fmla="*/ 18 h 912"/>
                <a:gd name="T58" fmla="*/ 17 w 864"/>
                <a:gd name="T59" fmla="*/ 16 h 912"/>
                <a:gd name="T60" fmla="*/ 18 w 864"/>
                <a:gd name="T61" fmla="*/ 14 h 912"/>
                <a:gd name="T62" fmla="*/ 19 w 864"/>
                <a:gd name="T63" fmla="*/ 10 h 912"/>
                <a:gd name="T64" fmla="*/ 19 w 864"/>
                <a:gd name="T65" fmla="*/ 8 h 912"/>
                <a:gd name="T66" fmla="*/ 17 w 864"/>
                <a:gd name="T67" fmla="*/ 5 h 912"/>
                <a:gd name="T68" fmla="*/ 16 w 864"/>
                <a:gd name="T69" fmla="*/ 3 h 912"/>
                <a:gd name="T70" fmla="*/ 13 w 864"/>
                <a:gd name="T71" fmla="*/ 1 h 912"/>
                <a:gd name="T72" fmla="*/ 12 w 864"/>
                <a:gd name="T73" fmla="*/ 1 h 912"/>
                <a:gd name="T74" fmla="*/ 8 w 864"/>
                <a:gd name="T75" fmla="*/ 1 h 912"/>
                <a:gd name="T76" fmla="*/ 6 w 864"/>
                <a:gd name="T77" fmla="*/ 1 h 912"/>
                <a:gd name="T78" fmla="*/ 3 w 864"/>
                <a:gd name="T79" fmla="*/ 3 h 912"/>
                <a:gd name="T80" fmla="*/ 2 w 864"/>
                <a:gd name="T81" fmla="*/ 5 h 912"/>
                <a:gd name="T82" fmla="*/ 1 w 864"/>
                <a:gd name="T83" fmla="*/ 8 h 912"/>
                <a:gd name="T84" fmla="*/ 0 w 864"/>
                <a:gd name="T85" fmla="*/ 10 h 9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64"/>
                <a:gd name="T130" fmla="*/ 0 h 912"/>
                <a:gd name="T131" fmla="*/ 864 w 864"/>
                <a:gd name="T132" fmla="*/ 912 h 91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64" h="912">
                  <a:moveTo>
                    <a:pt x="0" y="457"/>
                  </a:moveTo>
                  <a:cubicBezTo>
                    <a:pt x="0" y="457"/>
                    <a:pt x="0" y="456"/>
                    <a:pt x="0" y="456"/>
                  </a:cubicBezTo>
                  <a:lnTo>
                    <a:pt x="9" y="366"/>
                  </a:lnTo>
                  <a:cubicBezTo>
                    <a:pt x="10" y="365"/>
                    <a:pt x="10" y="365"/>
                    <a:pt x="10" y="364"/>
                  </a:cubicBezTo>
                  <a:lnTo>
                    <a:pt x="34" y="280"/>
                  </a:lnTo>
                  <a:cubicBezTo>
                    <a:pt x="34" y="280"/>
                    <a:pt x="34" y="279"/>
                    <a:pt x="34" y="279"/>
                  </a:cubicBezTo>
                  <a:lnTo>
                    <a:pt x="73" y="203"/>
                  </a:lnTo>
                  <a:cubicBezTo>
                    <a:pt x="74" y="202"/>
                    <a:pt x="74" y="202"/>
                    <a:pt x="74" y="202"/>
                  </a:cubicBezTo>
                  <a:lnTo>
                    <a:pt x="126" y="135"/>
                  </a:lnTo>
                  <a:cubicBezTo>
                    <a:pt x="126" y="134"/>
                    <a:pt x="127" y="134"/>
                    <a:pt x="127" y="133"/>
                  </a:cubicBezTo>
                  <a:lnTo>
                    <a:pt x="190" y="79"/>
                  </a:lnTo>
                  <a:cubicBezTo>
                    <a:pt x="191" y="79"/>
                    <a:pt x="191" y="79"/>
                    <a:pt x="191" y="79"/>
                  </a:cubicBezTo>
                  <a:lnTo>
                    <a:pt x="263" y="37"/>
                  </a:lnTo>
                  <a:cubicBezTo>
                    <a:pt x="264" y="36"/>
                    <a:pt x="264" y="36"/>
                    <a:pt x="265" y="36"/>
                  </a:cubicBezTo>
                  <a:lnTo>
                    <a:pt x="345" y="10"/>
                  </a:lnTo>
                  <a:cubicBezTo>
                    <a:pt x="346" y="10"/>
                    <a:pt x="346" y="10"/>
                    <a:pt x="347" y="10"/>
                  </a:cubicBezTo>
                  <a:lnTo>
                    <a:pt x="432" y="1"/>
                  </a:lnTo>
                  <a:cubicBezTo>
                    <a:pt x="432" y="0"/>
                    <a:pt x="433" y="0"/>
                    <a:pt x="433" y="1"/>
                  </a:cubicBezTo>
                  <a:lnTo>
                    <a:pt x="519" y="10"/>
                  </a:lnTo>
                  <a:cubicBezTo>
                    <a:pt x="520" y="10"/>
                    <a:pt x="520" y="10"/>
                    <a:pt x="521" y="10"/>
                  </a:cubicBezTo>
                  <a:lnTo>
                    <a:pt x="600" y="36"/>
                  </a:lnTo>
                  <a:cubicBezTo>
                    <a:pt x="600" y="36"/>
                    <a:pt x="601" y="36"/>
                    <a:pt x="601" y="37"/>
                  </a:cubicBezTo>
                  <a:lnTo>
                    <a:pt x="673" y="79"/>
                  </a:lnTo>
                  <a:cubicBezTo>
                    <a:pt x="674" y="79"/>
                    <a:pt x="674" y="79"/>
                    <a:pt x="675" y="79"/>
                  </a:cubicBezTo>
                  <a:lnTo>
                    <a:pt x="738" y="133"/>
                  </a:lnTo>
                  <a:cubicBezTo>
                    <a:pt x="738" y="134"/>
                    <a:pt x="738" y="134"/>
                    <a:pt x="739" y="135"/>
                  </a:cubicBezTo>
                  <a:lnTo>
                    <a:pt x="791" y="202"/>
                  </a:lnTo>
                  <a:cubicBezTo>
                    <a:pt x="791" y="202"/>
                    <a:pt x="791" y="202"/>
                    <a:pt x="792" y="203"/>
                  </a:cubicBezTo>
                  <a:lnTo>
                    <a:pt x="831" y="279"/>
                  </a:lnTo>
                  <a:cubicBezTo>
                    <a:pt x="831" y="279"/>
                    <a:pt x="831" y="280"/>
                    <a:pt x="831" y="280"/>
                  </a:cubicBezTo>
                  <a:lnTo>
                    <a:pt x="855" y="364"/>
                  </a:lnTo>
                  <a:cubicBezTo>
                    <a:pt x="855" y="365"/>
                    <a:pt x="855" y="365"/>
                    <a:pt x="855" y="366"/>
                  </a:cubicBezTo>
                  <a:lnTo>
                    <a:pt x="864" y="456"/>
                  </a:lnTo>
                  <a:cubicBezTo>
                    <a:pt x="864" y="456"/>
                    <a:pt x="864" y="457"/>
                    <a:pt x="864" y="457"/>
                  </a:cubicBezTo>
                  <a:lnTo>
                    <a:pt x="855" y="547"/>
                  </a:lnTo>
                  <a:cubicBezTo>
                    <a:pt x="855" y="548"/>
                    <a:pt x="855" y="548"/>
                    <a:pt x="855" y="549"/>
                  </a:cubicBezTo>
                  <a:lnTo>
                    <a:pt x="831" y="634"/>
                  </a:lnTo>
                  <a:cubicBezTo>
                    <a:pt x="831" y="634"/>
                    <a:pt x="831" y="635"/>
                    <a:pt x="831" y="635"/>
                  </a:cubicBezTo>
                  <a:lnTo>
                    <a:pt x="792" y="711"/>
                  </a:lnTo>
                  <a:cubicBezTo>
                    <a:pt x="791" y="712"/>
                    <a:pt x="791" y="712"/>
                    <a:pt x="791" y="712"/>
                  </a:cubicBezTo>
                  <a:lnTo>
                    <a:pt x="739" y="778"/>
                  </a:lnTo>
                  <a:cubicBezTo>
                    <a:pt x="738" y="779"/>
                    <a:pt x="738" y="779"/>
                    <a:pt x="738" y="779"/>
                  </a:cubicBezTo>
                  <a:lnTo>
                    <a:pt x="675" y="834"/>
                  </a:lnTo>
                  <a:cubicBezTo>
                    <a:pt x="674" y="835"/>
                    <a:pt x="674" y="835"/>
                    <a:pt x="673" y="835"/>
                  </a:cubicBezTo>
                  <a:lnTo>
                    <a:pt x="601" y="876"/>
                  </a:lnTo>
                  <a:cubicBezTo>
                    <a:pt x="601" y="877"/>
                    <a:pt x="600" y="877"/>
                    <a:pt x="600" y="877"/>
                  </a:cubicBezTo>
                  <a:lnTo>
                    <a:pt x="521" y="903"/>
                  </a:lnTo>
                  <a:cubicBezTo>
                    <a:pt x="520" y="903"/>
                    <a:pt x="520" y="903"/>
                    <a:pt x="519" y="903"/>
                  </a:cubicBezTo>
                  <a:lnTo>
                    <a:pt x="433" y="912"/>
                  </a:lnTo>
                  <a:cubicBezTo>
                    <a:pt x="433" y="912"/>
                    <a:pt x="432" y="912"/>
                    <a:pt x="432" y="912"/>
                  </a:cubicBezTo>
                  <a:lnTo>
                    <a:pt x="347" y="903"/>
                  </a:lnTo>
                  <a:cubicBezTo>
                    <a:pt x="346" y="903"/>
                    <a:pt x="346" y="903"/>
                    <a:pt x="345" y="903"/>
                  </a:cubicBezTo>
                  <a:lnTo>
                    <a:pt x="265" y="877"/>
                  </a:lnTo>
                  <a:cubicBezTo>
                    <a:pt x="264" y="877"/>
                    <a:pt x="264" y="877"/>
                    <a:pt x="264" y="876"/>
                  </a:cubicBezTo>
                  <a:lnTo>
                    <a:pt x="192" y="835"/>
                  </a:lnTo>
                  <a:cubicBezTo>
                    <a:pt x="191" y="835"/>
                    <a:pt x="191" y="835"/>
                    <a:pt x="190" y="834"/>
                  </a:cubicBezTo>
                  <a:lnTo>
                    <a:pt x="127" y="779"/>
                  </a:lnTo>
                  <a:cubicBezTo>
                    <a:pt x="127" y="779"/>
                    <a:pt x="126" y="779"/>
                    <a:pt x="126" y="778"/>
                  </a:cubicBezTo>
                  <a:lnTo>
                    <a:pt x="74" y="712"/>
                  </a:lnTo>
                  <a:cubicBezTo>
                    <a:pt x="74" y="712"/>
                    <a:pt x="74" y="712"/>
                    <a:pt x="73" y="711"/>
                  </a:cubicBezTo>
                  <a:lnTo>
                    <a:pt x="34" y="635"/>
                  </a:lnTo>
                  <a:cubicBezTo>
                    <a:pt x="34" y="635"/>
                    <a:pt x="34" y="634"/>
                    <a:pt x="34" y="634"/>
                  </a:cubicBezTo>
                  <a:lnTo>
                    <a:pt x="10" y="549"/>
                  </a:lnTo>
                  <a:cubicBezTo>
                    <a:pt x="10" y="548"/>
                    <a:pt x="10" y="548"/>
                    <a:pt x="9" y="547"/>
                  </a:cubicBezTo>
                  <a:lnTo>
                    <a:pt x="0" y="457"/>
                  </a:lnTo>
                  <a:close/>
                  <a:moveTo>
                    <a:pt x="25" y="546"/>
                  </a:moveTo>
                  <a:lnTo>
                    <a:pt x="25" y="544"/>
                  </a:lnTo>
                  <a:lnTo>
                    <a:pt x="49" y="629"/>
                  </a:lnTo>
                  <a:lnTo>
                    <a:pt x="49" y="628"/>
                  </a:lnTo>
                  <a:lnTo>
                    <a:pt x="88" y="704"/>
                  </a:lnTo>
                  <a:lnTo>
                    <a:pt x="87" y="703"/>
                  </a:lnTo>
                  <a:lnTo>
                    <a:pt x="139" y="769"/>
                  </a:lnTo>
                  <a:lnTo>
                    <a:pt x="138" y="767"/>
                  </a:lnTo>
                  <a:lnTo>
                    <a:pt x="201" y="822"/>
                  </a:lnTo>
                  <a:lnTo>
                    <a:pt x="199" y="822"/>
                  </a:lnTo>
                  <a:lnTo>
                    <a:pt x="271" y="863"/>
                  </a:lnTo>
                  <a:lnTo>
                    <a:pt x="270" y="862"/>
                  </a:lnTo>
                  <a:lnTo>
                    <a:pt x="350" y="888"/>
                  </a:lnTo>
                  <a:lnTo>
                    <a:pt x="348" y="888"/>
                  </a:lnTo>
                  <a:lnTo>
                    <a:pt x="433" y="897"/>
                  </a:lnTo>
                  <a:lnTo>
                    <a:pt x="432" y="897"/>
                  </a:lnTo>
                  <a:lnTo>
                    <a:pt x="518" y="888"/>
                  </a:lnTo>
                  <a:lnTo>
                    <a:pt x="516" y="888"/>
                  </a:lnTo>
                  <a:lnTo>
                    <a:pt x="595" y="862"/>
                  </a:lnTo>
                  <a:lnTo>
                    <a:pt x="594" y="863"/>
                  </a:lnTo>
                  <a:lnTo>
                    <a:pt x="666" y="822"/>
                  </a:lnTo>
                  <a:lnTo>
                    <a:pt x="664" y="822"/>
                  </a:lnTo>
                  <a:lnTo>
                    <a:pt x="727" y="767"/>
                  </a:lnTo>
                  <a:lnTo>
                    <a:pt x="726" y="769"/>
                  </a:lnTo>
                  <a:lnTo>
                    <a:pt x="778" y="703"/>
                  </a:lnTo>
                  <a:lnTo>
                    <a:pt x="777" y="704"/>
                  </a:lnTo>
                  <a:lnTo>
                    <a:pt x="816" y="628"/>
                  </a:lnTo>
                  <a:lnTo>
                    <a:pt x="816" y="629"/>
                  </a:lnTo>
                  <a:lnTo>
                    <a:pt x="840" y="544"/>
                  </a:lnTo>
                  <a:lnTo>
                    <a:pt x="839" y="546"/>
                  </a:lnTo>
                  <a:lnTo>
                    <a:pt x="848" y="456"/>
                  </a:lnTo>
                  <a:lnTo>
                    <a:pt x="848" y="457"/>
                  </a:lnTo>
                  <a:lnTo>
                    <a:pt x="839" y="367"/>
                  </a:lnTo>
                  <a:lnTo>
                    <a:pt x="840" y="369"/>
                  </a:lnTo>
                  <a:lnTo>
                    <a:pt x="816" y="285"/>
                  </a:lnTo>
                  <a:lnTo>
                    <a:pt x="816" y="286"/>
                  </a:lnTo>
                  <a:lnTo>
                    <a:pt x="777" y="210"/>
                  </a:lnTo>
                  <a:lnTo>
                    <a:pt x="778" y="211"/>
                  </a:lnTo>
                  <a:lnTo>
                    <a:pt x="726" y="144"/>
                  </a:lnTo>
                  <a:lnTo>
                    <a:pt x="727" y="146"/>
                  </a:lnTo>
                  <a:lnTo>
                    <a:pt x="664" y="92"/>
                  </a:lnTo>
                  <a:lnTo>
                    <a:pt x="665" y="92"/>
                  </a:lnTo>
                  <a:lnTo>
                    <a:pt x="593" y="50"/>
                  </a:lnTo>
                  <a:lnTo>
                    <a:pt x="595" y="51"/>
                  </a:lnTo>
                  <a:lnTo>
                    <a:pt x="516" y="25"/>
                  </a:lnTo>
                  <a:lnTo>
                    <a:pt x="518" y="25"/>
                  </a:lnTo>
                  <a:lnTo>
                    <a:pt x="432" y="16"/>
                  </a:lnTo>
                  <a:lnTo>
                    <a:pt x="433" y="16"/>
                  </a:lnTo>
                  <a:lnTo>
                    <a:pt x="348" y="25"/>
                  </a:lnTo>
                  <a:lnTo>
                    <a:pt x="350" y="25"/>
                  </a:lnTo>
                  <a:lnTo>
                    <a:pt x="270" y="51"/>
                  </a:lnTo>
                  <a:lnTo>
                    <a:pt x="271" y="50"/>
                  </a:lnTo>
                  <a:lnTo>
                    <a:pt x="199" y="92"/>
                  </a:lnTo>
                  <a:lnTo>
                    <a:pt x="201" y="92"/>
                  </a:lnTo>
                  <a:lnTo>
                    <a:pt x="138" y="146"/>
                  </a:lnTo>
                  <a:lnTo>
                    <a:pt x="139" y="144"/>
                  </a:lnTo>
                  <a:lnTo>
                    <a:pt x="87" y="211"/>
                  </a:lnTo>
                  <a:lnTo>
                    <a:pt x="88" y="210"/>
                  </a:lnTo>
                  <a:lnTo>
                    <a:pt x="49" y="286"/>
                  </a:lnTo>
                  <a:lnTo>
                    <a:pt x="49" y="285"/>
                  </a:lnTo>
                  <a:lnTo>
                    <a:pt x="25" y="369"/>
                  </a:lnTo>
                  <a:lnTo>
                    <a:pt x="25" y="367"/>
                  </a:lnTo>
                  <a:lnTo>
                    <a:pt x="16" y="457"/>
                  </a:lnTo>
                  <a:lnTo>
                    <a:pt x="16" y="456"/>
                  </a:lnTo>
                  <a:lnTo>
                    <a:pt x="25" y="546"/>
                  </a:lnTo>
                  <a:close/>
                </a:path>
              </a:pathLst>
            </a:custGeom>
            <a:solidFill>
              <a:srgbClr val="000000"/>
            </a:solidFill>
            <a:ln w="0">
              <a:solidFill>
                <a:srgbClr val="000000"/>
              </a:solidFill>
              <a:round/>
              <a:headEnd/>
              <a:tailEnd/>
            </a:ln>
          </p:spPr>
          <p:txBody>
            <a:bodyPr/>
            <a:lstStyle/>
            <a:p>
              <a:endParaRPr lang="en-US"/>
            </a:p>
          </p:txBody>
        </p:sp>
        <p:sp>
          <p:nvSpPr>
            <p:cNvPr id="42167" name="Rectangle 198"/>
            <p:cNvSpPr>
              <a:spLocks noChangeArrowheads="1"/>
            </p:cNvSpPr>
            <p:nvPr/>
          </p:nvSpPr>
          <p:spPr bwMode="auto">
            <a:xfrm>
              <a:off x="4256" y="2109"/>
              <a:ext cx="99" cy="81"/>
            </a:xfrm>
            <a:prstGeom prst="rect">
              <a:avLst/>
            </a:prstGeom>
            <a:solidFill>
              <a:srgbClr val="FFFFCC"/>
            </a:solidFill>
            <a:ln w="9525">
              <a:noFill/>
              <a:miter lim="800000"/>
              <a:headEnd/>
              <a:tailEnd/>
            </a:ln>
          </p:spPr>
          <p:txBody>
            <a:bodyPr/>
            <a:lstStyle/>
            <a:p>
              <a:endParaRPr lang="en-US"/>
            </a:p>
          </p:txBody>
        </p:sp>
        <p:sp>
          <p:nvSpPr>
            <p:cNvPr id="42168" name="Rectangle 199"/>
            <p:cNvSpPr>
              <a:spLocks noChangeArrowheads="1"/>
            </p:cNvSpPr>
            <p:nvPr/>
          </p:nvSpPr>
          <p:spPr bwMode="auto">
            <a:xfrm>
              <a:off x="4258" y="2118"/>
              <a:ext cx="158" cy="108"/>
            </a:xfrm>
            <a:prstGeom prst="rect">
              <a:avLst/>
            </a:prstGeom>
            <a:noFill/>
            <a:ln w="9525">
              <a:noFill/>
              <a:miter lim="800000"/>
              <a:headEnd/>
              <a:tailEnd/>
            </a:ln>
          </p:spPr>
          <p:txBody>
            <a:bodyPr wrap="none" lIns="0" tIns="0" rIns="0" bIns="0">
              <a:spAutoFit/>
            </a:bodyPr>
            <a:lstStyle/>
            <a:p>
              <a:r>
                <a:rPr lang="en-US" sz="1000">
                  <a:solidFill>
                    <a:srgbClr val="000000"/>
                  </a:solidFill>
                </a:rPr>
                <a:t>RO</a:t>
              </a:r>
              <a:endParaRPr lang="en-US"/>
            </a:p>
          </p:txBody>
        </p:sp>
        <p:sp>
          <p:nvSpPr>
            <p:cNvPr id="42169" name="Freeform 201"/>
            <p:cNvSpPr>
              <a:spLocks noEditPoints="1"/>
            </p:cNvSpPr>
            <p:nvPr/>
          </p:nvSpPr>
          <p:spPr bwMode="auto">
            <a:xfrm>
              <a:off x="3918" y="2329"/>
              <a:ext cx="244" cy="257"/>
            </a:xfrm>
            <a:custGeom>
              <a:avLst/>
              <a:gdLst>
                <a:gd name="T0" fmla="*/ 0 w 864"/>
                <a:gd name="T1" fmla="*/ 8 h 912"/>
                <a:gd name="T2" fmla="*/ 1 w 864"/>
                <a:gd name="T3" fmla="*/ 6 h 912"/>
                <a:gd name="T4" fmla="*/ 3 w 864"/>
                <a:gd name="T5" fmla="*/ 3 h 912"/>
                <a:gd name="T6" fmla="*/ 4 w 864"/>
                <a:gd name="T7" fmla="*/ 2 h 912"/>
                <a:gd name="T8" fmla="*/ 8 w 864"/>
                <a:gd name="T9" fmla="*/ 0 h 912"/>
                <a:gd name="T10" fmla="*/ 10 w 864"/>
                <a:gd name="T11" fmla="*/ 0 h 912"/>
                <a:gd name="T12" fmla="*/ 14 w 864"/>
                <a:gd name="T13" fmla="*/ 1 h 912"/>
                <a:gd name="T14" fmla="*/ 15 w 864"/>
                <a:gd name="T15" fmla="*/ 2 h 912"/>
                <a:gd name="T16" fmla="*/ 18 w 864"/>
                <a:gd name="T17" fmla="*/ 5 h 912"/>
                <a:gd name="T18" fmla="*/ 19 w 864"/>
                <a:gd name="T19" fmla="*/ 6 h 912"/>
                <a:gd name="T20" fmla="*/ 19 w 864"/>
                <a:gd name="T21" fmla="*/ 10 h 912"/>
                <a:gd name="T22" fmla="*/ 19 w 864"/>
                <a:gd name="T23" fmla="*/ 12 h 912"/>
                <a:gd name="T24" fmla="*/ 18 w 864"/>
                <a:gd name="T25" fmla="*/ 16 h 912"/>
                <a:gd name="T26" fmla="*/ 17 w 864"/>
                <a:gd name="T27" fmla="*/ 17 h 912"/>
                <a:gd name="T28" fmla="*/ 14 w 864"/>
                <a:gd name="T29" fmla="*/ 20 h 912"/>
                <a:gd name="T30" fmla="*/ 12 w 864"/>
                <a:gd name="T31" fmla="*/ 20 h 912"/>
                <a:gd name="T32" fmla="*/ 8 w 864"/>
                <a:gd name="T33" fmla="*/ 20 h 912"/>
                <a:gd name="T34" fmla="*/ 6 w 864"/>
                <a:gd name="T35" fmla="*/ 20 h 912"/>
                <a:gd name="T36" fmla="*/ 3 w 864"/>
                <a:gd name="T37" fmla="*/ 17 h 912"/>
                <a:gd name="T38" fmla="*/ 2 w 864"/>
                <a:gd name="T39" fmla="*/ 16 h 912"/>
                <a:gd name="T40" fmla="*/ 0 w 864"/>
                <a:gd name="T41" fmla="*/ 12 h 912"/>
                <a:gd name="T42" fmla="*/ 1 w 864"/>
                <a:gd name="T43" fmla="*/ 12 h 912"/>
                <a:gd name="T44" fmla="*/ 1 w 864"/>
                <a:gd name="T45" fmla="*/ 14 h 912"/>
                <a:gd name="T46" fmla="*/ 3 w 864"/>
                <a:gd name="T47" fmla="*/ 17 h 912"/>
                <a:gd name="T48" fmla="*/ 5 w 864"/>
                <a:gd name="T49" fmla="*/ 18 h 912"/>
                <a:gd name="T50" fmla="*/ 8 w 864"/>
                <a:gd name="T51" fmla="*/ 20 h 912"/>
                <a:gd name="T52" fmla="*/ 10 w 864"/>
                <a:gd name="T53" fmla="*/ 20 h 912"/>
                <a:gd name="T54" fmla="*/ 13 w 864"/>
                <a:gd name="T55" fmla="*/ 19 h 912"/>
                <a:gd name="T56" fmla="*/ 15 w 864"/>
                <a:gd name="T57" fmla="*/ 18 h 912"/>
                <a:gd name="T58" fmla="*/ 18 w 864"/>
                <a:gd name="T59" fmla="*/ 16 h 912"/>
                <a:gd name="T60" fmla="*/ 18 w 864"/>
                <a:gd name="T61" fmla="*/ 14 h 912"/>
                <a:gd name="T62" fmla="*/ 19 w 864"/>
                <a:gd name="T63" fmla="*/ 10 h 912"/>
                <a:gd name="T64" fmla="*/ 19 w 864"/>
                <a:gd name="T65" fmla="*/ 8 h 912"/>
                <a:gd name="T66" fmla="*/ 18 w 864"/>
                <a:gd name="T67" fmla="*/ 5 h 912"/>
                <a:gd name="T68" fmla="*/ 16 w 864"/>
                <a:gd name="T69" fmla="*/ 3 h 912"/>
                <a:gd name="T70" fmla="*/ 13 w 864"/>
                <a:gd name="T71" fmla="*/ 1 h 912"/>
                <a:gd name="T72" fmla="*/ 12 w 864"/>
                <a:gd name="T73" fmla="*/ 1 h 912"/>
                <a:gd name="T74" fmla="*/ 8 w 864"/>
                <a:gd name="T75" fmla="*/ 1 h 912"/>
                <a:gd name="T76" fmla="*/ 6 w 864"/>
                <a:gd name="T77" fmla="*/ 1 h 912"/>
                <a:gd name="T78" fmla="*/ 3 w 864"/>
                <a:gd name="T79" fmla="*/ 3 h 912"/>
                <a:gd name="T80" fmla="*/ 2 w 864"/>
                <a:gd name="T81" fmla="*/ 5 h 912"/>
                <a:gd name="T82" fmla="*/ 1 w 864"/>
                <a:gd name="T83" fmla="*/ 8 h 912"/>
                <a:gd name="T84" fmla="*/ 0 w 864"/>
                <a:gd name="T85" fmla="*/ 10 h 9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64"/>
                <a:gd name="T130" fmla="*/ 0 h 912"/>
                <a:gd name="T131" fmla="*/ 864 w 864"/>
                <a:gd name="T132" fmla="*/ 912 h 91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64" h="912">
                  <a:moveTo>
                    <a:pt x="0" y="457"/>
                  </a:moveTo>
                  <a:cubicBezTo>
                    <a:pt x="0" y="457"/>
                    <a:pt x="0" y="456"/>
                    <a:pt x="0" y="456"/>
                  </a:cubicBezTo>
                  <a:lnTo>
                    <a:pt x="9" y="366"/>
                  </a:lnTo>
                  <a:cubicBezTo>
                    <a:pt x="10" y="365"/>
                    <a:pt x="10" y="365"/>
                    <a:pt x="10" y="364"/>
                  </a:cubicBezTo>
                  <a:lnTo>
                    <a:pt x="34" y="280"/>
                  </a:lnTo>
                  <a:cubicBezTo>
                    <a:pt x="34" y="280"/>
                    <a:pt x="34" y="279"/>
                    <a:pt x="34" y="279"/>
                  </a:cubicBezTo>
                  <a:lnTo>
                    <a:pt x="73" y="203"/>
                  </a:lnTo>
                  <a:cubicBezTo>
                    <a:pt x="74" y="202"/>
                    <a:pt x="74" y="202"/>
                    <a:pt x="74" y="202"/>
                  </a:cubicBezTo>
                  <a:lnTo>
                    <a:pt x="126" y="135"/>
                  </a:lnTo>
                  <a:cubicBezTo>
                    <a:pt x="126" y="134"/>
                    <a:pt x="127" y="134"/>
                    <a:pt x="127" y="133"/>
                  </a:cubicBezTo>
                  <a:lnTo>
                    <a:pt x="190" y="79"/>
                  </a:lnTo>
                  <a:cubicBezTo>
                    <a:pt x="191" y="79"/>
                    <a:pt x="191" y="79"/>
                    <a:pt x="191" y="79"/>
                  </a:cubicBezTo>
                  <a:lnTo>
                    <a:pt x="263" y="37"/>
                  </a:lnTo>
                  <a:cubicBezTo>
                    <a:pt x="264" y="36"/>
                    <a:pt x="264" y="36"/>
                    <a:pt x="265" y="36"/>
                  </a:cubicBezTo>
                  <a:lnTo>
                    <a:pt x="345" y="10"/>
                  </a:lnTo>
                  <a:cubicBezTo>
                    <a:pt x="346" y="10"/>
                    <a:pt x="346" y="10"/>
                    <a:pt x="347" y="10"/>
                  </a:cubicBezTo>
                  <a:lnTo>
                    <a:pt x="432" y="1"/>
                  </a:lnTo>
                  <a:cubicBezTo>
                    <a:pt x="432" y="0"/>
                    <a:pt x="433" y="0"/>
                    <a:pt x="433" y="1"/>
                  </a:cubicBezTo>
                  <a:lnTo>
                    <a:pt x="519" y="10"/>
                  </a:lnTo>
                  <a:cubicBezTo>
                    <a:pt x="520" y="10"/>
                    <a:pt x="520" y="10"/>
                    <a:pt x="521" y="10"/>
                  </a:cubicBezTo>
                  <a:lnTo>
                    <a:pt x="600" y="36"/>
                  </a:lnTo>
                  <a:cubicBezTo>
                    <a:pt x="600" y="36"/>
                    <a:pt x="601" y="36"/>
                    <a:pt x="601" y="37"/>
                  </a:cubicBezTo>
                  <a:lnTo>
                    <a:pt x="673" y="79"/>
                  </a:lnTo>
                  <a:cubicBezTo>
                    <a:pt x="674" y="79"/>
                    <a:pt x="674" y="79"/>
                    <a:pt x="675" y="79"/>
                  </a:cubicBezTo>
                  <a:lnTo>
                    <a:pt x="738" y="133"/>
                  </a:lnTo>
                  <a:cubicBezTo>
                    <a:pt x="738" y="134"/>
                    <a:pt x="738" y="134"/>
                    <a:pt x="739" y="135"/>
                  </a:cubicBezTo>
                  <a:lnTo>
                    <a:pt x="791" y="202"/>
                  </a:lnTo>
                  <a:cubicBezTo>
                    <a:pt x="791" y="202"/>
                    <a:pt x="791" y="202"/>
                    <a:pt x="792" y="203"/>
                  </a:cubicBezTo>
                  <a:lnTo>
                    <a:pt x="831" y="279"/>
                  </a:lnTo>
                  <a:cubicBezTo>
                    <a:pt x="831" y="279"/>
                    <a:pt x="831" y="280"/>
                    <a:pt x="831" y="280"/>
                  </a:cubicBezTo>
                  <a:lnTo>
                    <a:pt x="855" y="364"/>
                  </a:lnTo>
                  <a:cubicBezTo>
                    <a:pt x="855" y="365"/>
                    <a:pt x="855" y="365"/>
                    <a:pt x="855" y="366"/>
                  </a:cubicBezTo>
                  <a:lnTo>
                    <a:pt x="864" y="456"/>
                  </a:lnTo>
                  <a:cubicBezTo>
                    <a:pt x="864" y="456"/>
                    <a:pt x="864" y="457"/>
                    <a:pt x="864" y="457"/>
                  </a:cubicBezTo>
                  <a:lnTo>
                    <a:pt x="855" y="547"/>
                  </a:lnTo>
                  <a:cubicBezTo>
                    <a:pt x="855" y="548"/>
                    <a:pt x="855" y="548"/>
                    <a:pt x="855" y="549"/>
                  </a:cubicBezTo>
                  <a:lnTo>
                    <a:pt x="831" y="634"/>
                  </a:lnTo>
                  <a:cubicBezTo>
                    <a:pt x="831" y="634"/>
                    <a:pt x="831" y="635"/>
                    <a:pt x="831" y="635"/>
                  </a:cubicBezTo>
                  <a:lnTo>
                    <a:pt x="792" y="711"/>
                  </a:lnTo>
                  <a:cubicBezTo>
                    <a:pt x="791" y="712"/>
                    <a:pt x="791" y="712"/>
                    <a:pt x="791" y="712"/>
                  </a:cubicBezTo>
                  <a:lnTo>
                    <a:pt x="739" y="778"/>
                  </a:lnTo>
                  <a:cubicBezTo>
                    <a:pt x="738" y="779"/>
                    <a:pt x="738" y="779"/>
                    <a:pt x="738" y="779"/>
                  </a:cubicBezTo>
                  <a:lnTo>
                    <a:pt x="675" y="834"/>
                  </a:lnTo>
                  <a:cubicBezTo>
                    <a:pt x="674" y="835"/>
                    <a:pt x="674" y="835"/>
                    <a:pt x="673" y="835"/>
                  </a:cubicBezTo>
                  <a:lnTo>
                    <a:pt x="601" y="876"/>
                  </a:lnTo>
                  <a:cubicBezTo>
                    <a:pt x="601" y="877"/>
                    <a:pt x="600" y="877"/>
                    <a:pt x="600" y="877"/>
                  </a:cubicBezTo>
                  <a:lnTo>
                    <a:pt x="521" y="903"/>
                  </a:lnTo>
                  <a:cubicBezTo>
                    <a:pt x="520" y="903"/>
                    <a:pt x="520" y="903"/>
                    <a:pt x="519" y="903"/>
                  </a:cubicBezTo>
                  <a:lnTo>
                    <a:pt x="433" y="912"/>
                  </a:lnTo>
                  <a:cubicBezTo>
                    <a:pt x="433" y="912"/>
                    <a:pt x="432" y="912"/>
                    <a:pt x="432" y="912"/>
                  </a:cubicBezTo>
                  <a:lnTo>
                    <a:pt x="347" y="903"/>
                  </a:lnTo>
                  <a:cubicBezTo>
                    <a:pt x="346" y="903"/>
                    <a:pt x="346" y="903"/>
                    <a:pt x="345" y="903"/>
                  </a:cubicBezTo>
                  <a:lnTo>
                    <a:pt x="265" y="877"/>
                  </a:lnTo>
                  <a:cubicBezTo>
                    <a:pt x="264" y="877"/>
                    <a:pt x="264" y="877"/>
                    <a:pt x="264" y="876"/>
                  </a:cubicBezTo>
                  <a:lnTo>
                    <a:pt x="192" y="835"/>
                  </a:lnTo>
                  <a:cubicBezTo>
                    <a:pt x="191" y="835"/>
                    <a:pt x="191" y="835"/>
                    <a:pt x="190" y="834"/>
                  </a:cubicBezTo>
                  <a:lnTo>
                    <a:pt x="127" y="779"/>
                  </a:lnTo>
                  <a:cubicBezTo>
                    <a:pt x="127" y="779"/>
                    <a:pt x="126" y="779"/>
                    <a:pt x="126" y="778"/>
                  </a:cubicBezTo>
                  <a:lnTo>
                    <a:pt x="74" y="712"/>
                  </a:lnTo>
                  <a:cubicBezTo>
                    <a:pt x="74" y="712"/>
                    <a:pt x="74" y="712"/>
                    <a:pt x="73" y="711"/>
                  </a:cubicBezTo>
                  <a:lnTo>
                    <a:pt x="34" y="635"/>
                  </a:lnTo>
                  <a:cubicBezTo>
                    <a:pt x="34" y="635"/>
                    <a:pt x="34" y="634"/>
                    <a:pt x="34" y="634"/>
                  </a:cubicBezTo>
                  <a:lnTo>
                    <a:pt x="10" y="549"/>
                  </a:lnTo>
                  <a:cubicBezTo>
                    <a:pt x="10" y="548"/>
                    <a:pt x="10" y="548"/>
                    <a:pt x="9" y="547"/>
                  </a:cubicBezTo>
                  <a:lnTo>
                    <a:pt x="0" y="457"/>
                  </a:lnTo>
                  <a:close/>
                  <a:moveTo>
                    <a:pt x="25" y="546"/>
                  </a:moveTo>
                  <a:lnTo>
                    <a:pt x="25" y="544"/>
                  </a:lnTo>
                  <a:lnTo>
                    <a:pt x="49" y="629"/>
                  </a:lnTo>
                  <a:lnTo>
                    <a:pt x="49" y="628"/>
                  </a:lnTo>
                  <a:lnTo>
                    <a:pt x="88" y="704"/>
                  </a:lnTo>
                  <a:lnTo>
                    <a:pt x="87" y="703"/>
                  </a:lnTo>
                  <a:lnTo>
                    <a:pt x="139" y="769"/>
                  </a:lnTo>
                  <a:lnTo>
                    <a:pt x="138" y="767"/>
                  </a:lnTo>
                  <a:lnTo>
                    <a:pt x="201" y="822"/>
                  </a:lnTo>
                  <a:lnTo>
                    <a:pt x="199" y="822"/>
                  </a:lnTo>
                  <a:lnTo>
                    <a:pt x="271" y="863"/>
                  </a:lnTo>
                  <a:lnTo>
                    <a:pt x="270" y="862"/>
                  </a:lnTo>
                  <a:lnTo>
                    <a:pt x="350" y="888"/>
                  </a:lnTo>
                  <a:lnTo>
                    <a:pt x="348" y="888"/>
                  </a:lnTo>
                  <a:lnTo>
                    <a:pt x="433" y="897"/>
                  </a:lnTo>
                  <a:lnTo>
                    <a:pt x="432" y="897"/>
                  </a:lnTo>
                  <a:lnTo>
                    <a:pt x="518" y="888"/>
                  </a:lnTo>
                  <a:lnTo>
                    <a:pt x="516" y="888"/>
                  </a:lnTo>
                  <a:lnTo>
                    <a:pt x="595" y="862"/>
                  </a:lnTo>
                  <a:lnTo>
                    <a:pt x="594" y="863"/>
                  </a:lnTo>
                  <a:lnTo>
                    <a:pt x="666" y="822"/>
                  </a:lnTo>
                  <a:lnTo>
                    <a:pt x="664" y="822"/>
                  </a:lnTo>
                  <a:lnTo>
                    <a:pt x="727" y="767"/>
                  </a:lnTo>
                  <a:lnTo>
                    <a:pt x="726" y="769"/>
                  </a:lnTo>
                  <a:lnTo>
                    <a:pt x="778" y="703"/>
                  </a:lnTo>
                  <a:lnTo>
                    <a:pt x="777" y="704"/>
                  </a:lnTo>
                  <a:lnTo>
                    <a:pt x="816" y="628"/>
                  </a:lnTo>
                  <a:lnTo>
                    <a:pt x="816" y="629"/>
                  </a:lnTo>
                  <a:lnTo>
                    <a:pt x="840" y="544"/>
                  </a:lnTo>
                  <a:lnTo>
                    <a:pt x="839" y="546"/>
                  </a:lnTo>
                  <a:lnTo>
                    <a:pt x="848" y="456"/>
                  </a:lnTo>
                  <a:lnTo>
                    <a:pt x="848" y="457"/>
                  </a:lnTo>
                  <a:lnTo>
                    <a:pt x="839" y="367"/>
                  </a:lnTo>
                  <a:lnTo>
                    <a:pt x="840" y="369"/>
                  </a:lnTo>
                  <a:lnTo>
                    <a:pt x="816" y="285"/>
                  </a:lnTo>
                  <a:lnTo>
                    <a:pt x="816" y="286"/>
                  </a:lnTo>
                  <a:lnTo>
                    <a:pt x="777" y="210"/>
                  </a:lnTo>
                  <a:lnTo>
                    <a:pt x="778" y="211"/>
                  </a:lnTo>
                  <a:lnTo>
                    <a:pt x="726" y="144"/>
                  </a:lnTo>
                  <a:lnTo>
                    <a:pt x="727" y="146"/>
                  </a:lnTo>
                  <a:lnTo>
                    <a:pt x="664" y="92"/>
                  </a:lnTo>
                  <a:lnTo>
                    <a:pt x="665" y="92"/>
                  </a:lnTo>
                  <a:lnTo>
                    <a:pt x="593" y="50"/>
                  </a:lnTo>
                  <a:lnTo>
                    <a:pt x="595" y="51"/>
                  </a:lnTo>
                  <a:lnTo>
                    <a:pt x="516" y="25"/>
                  </a:lnTo>
                  <a:lnTo>
                    <a:pt x="518" y="25"/>
                  </a:lnTo>
                  <a:lnTo>
                    <a:pt x="432" y="16"/>
                  </a:lnTo>
                  <a:lnTo>
                    <a:pt x="433" y="16"/>
                  </a:lnTo>
                  <a:lnTo>
                    <a:pt x="348" y="25"/>
                  </a:lnTo>
                  <a:lnTo>
                    <a:pt x="350" y="25"/>
                  </a:lnTo>
                  <a:lnTo>
                    <a:pt x="270" y="51"/>
                  </a:lnTo>
                  <a:lnTo>
                    <a:pt x="271" y="50"/>
                  </a:lnTo>
                  <a:lnTo>
                    <a:pt x="199" y="92"/>
                  </a:lnTo>
                  <a:lnTo>
                    <a:pt x="201" y="92"/>
                  </a:lnTo>
                  <a:lnTo>
                    <a:pt x="138" y="146"/>
                  </a:lnTo>
                  <a:lnTo>
                    <a:pt x="139" y="144"/>
                  </a:lnTo>
                  <a:lnTo>
                    <a:pt x="87" y="211"/>
                  </a:lnTo>
                  <a:lnTo>
                    <a:pt x="88" y="210"/>
                  </a:lnTo>
                  <a:lnTo>
                    <a:pt x="49" y="286"/>
                  </a:lnTo>
                  <a:lnTo>
                    <a:pt x="49" y="285"/>
                  </a:lnTo>
                  <a:lnTo>
                    <a:pt x="25" y="369"/>
                  </a:lnTo>
                  <a:lnTo>
                    <a:pt x="25" y="367"/>
                  </a:lnTo>
                  <a:lnTo>
                    <a:pt x="16" y="457"/>
                  </a:lnTo>
                  <a:lnTo>
                    <a:pt x="16" y="456"/>
                  </a:lnTo>
                  <a:lnTo>
                    <a:pt x="25" y="546"/>
                  </a:lnTo>
                  <a:close/>
                </a:path>
              </a:pathLst>
            </a:custGeom>
            <a:solidFill>
              <a:srgbClr val="000000"/>
            </a:solidFill>
            <a:ln w="0">
              <a:solidFill>
                <a:srgbClr val="000000"/>
              </a:solidFill>
              <a:round/>
              <a:headEnd/>
              <a:tailEnd/>
            </a:ln>
          </p:spPr>
          <p:txBody>
            <a:bodyPr/>
            <a:lstStyle/>
            <a:p>
              <a:endParaRPr lang="en-US"/>
            </a:p>
          </p:txBody>
        </p:sp>
        <p:sp>
          <p:nvSpPr>
            <p:cNvPr id="42170" name="Freeform 203"/>
            <p:cNvSpPr>
              <a:spLocks noEditPoints="1"/>
            </p:cNvSpPr>
            <p:nvPr/>
          </p:nvSpPr>
          <p:spPr bwMode="auto">
            <a:xfrm>
              <a:off x="3918" y="2329"/>
              <a:ext cx="244" cy="257"/>
            </a:xfrm>
            <a:custGeom>
              <a:avLst/>
              <a:gdLst>
                <a:gd name="T0" fmla="*/ 0 w 864"/>
                <a:gd name="T1" fmla="*/ 8 h 912"/>
                <a:gd name="T2" fmla="*/ 1 w 864"/>
                <a:gd name="T3" fmla="*/ 6 h 912"/>
                <a:gd name="T4" fmla="*/ 3 w 864"/>
                <a:gd name="T5" fmla="*/ 3 h 912"/>
                <a:gd name="T6" fmla="*/ 4 w 864"/>
                <a:gd name="T7" fmla="*/ 2 h 912"/>
                <a:gd name="T8" fmla="*/ 8 w 864"/>
                <a:gd name="T9" fmla="*/ 0 h 912"/>
                <a:gd name="T10" fmla="*/ 10 w 864"/>
                <a:gd name="T11" fmla="*/ 0 h 912"/>
                <a:gd name="T12" fmla="*/ 14 w 864"/>
                <a:gd name="T13" fmla="*/ 1 h 912"/>
                <a:gd name="T14" fmla="*/ 15 w 864"/>
                <a:gd name="T15" fmla="*/ 2 h 912"/>
                <a:gd name="T16" fmla="*/ 18 w 864"/>
                <a:gd name="T17" fmla="*/ 5 h 912"/>
                <a:gd name="T18" fmla="*/ 19 w 864"/>
                <a:gd name="T19" fmla="*/ 6 h 912"/>
                <a:gd name="T20" fmla="*/ 19 w 864"/>
                <a:gd name="T21" fmla="*/ 10 h 912"/>
                <a:gd name="T22" fmla="*/ 19 w 864"/>
                <a:gd name="T23" fmla="*/ 12 h 912"/>
                <a:gd name="T24" fmla="*/ 18 w 864"/>
                <a:gd name="T25" fmla="*/ 16 h 912"/>
                <a:gd name="T26" fmla="*/ 17 w 864"/>
                <a:gd name="T27" fmla="*/ 17 h 912"/>
                <a:gd name="T28" fmla="*/ 14 w 864"/>
                <a:gd name="T29" fmla="*/ 20 h 912"/>
                <a:gd name="T30" fmla="*/ 12 w 864"/>
                <a:gd name="T31" fmla="*/ 20 h 912"/>
                <a:gd name="T32" fmla="*/ 8 w 864"/>
                <a:gd name="T33" fmla="*/ 20 h 912"/>
                <a:gd name="T34" fmla="*/ 6 w 864"/>
                <a:gd name="T35" fmla="*/ 20 h 912"/>
                <a:gd name="T36" fmla="*/ 3 w 864"/>
                <a:gd name="T37" fmla="*/ 17 h 912"/>
                <a:gd name="T38" fmla="*/ 2 w 864"/>
                <a:gd name="T39" fmla="*/ 16 h 912"/>
                <a:gd name="T40" fmla="*/ 0 w 864"/>
                <a:gd name="T41" fmla="*/ 12 h 912"/>
                <a:gd name="T42" fmla="*/ 1 w 864"/>
                <a:gd name="T43" fmla="*/ 12 h 912"/>
                <a:gd name="T44" fmla="*/ 1 w 864"/>
                <a:gd name="T45" fmla="*/ 14 h 912"/>
                <a:gd name="T46" fmla="*/ 3 w 864"/>
                <a:gd name="T47" fmla="*/ 17 h 912"/>
                <a:gd name="T48" fmla="*/ 5 w 864"/>
                <a:gd name="T49" fmla="*/ 18 h 912"/>
                <a:gd name="T50" fmla="*/ 8 w 864"/>
                <a:gd name="T51" fmla="*/ 20 h 912"/>
                <a:gd name="T52" fmla="*/ 10 w 864"/>
                <a:gd name="T53" fmla="*/ 20 h 912"/>
                <a:gd name="T54" fmla="*/ 13 w 864"/>
                <a:gd name="T55" fmla="*/ 19 h 912"/>
                <a:gd name="T56" fmla="*/ 15 w 864"/>
                <a:gd name="T57" fmla="*/ 18 h 912"/>
                <a:gd name="T58" fmla="*/ 18 w 864"/>
                <a:gd name="T59" fmla="*/ 16 h 912"/>
                <a:gd name="T60" fmla="*/ 18 w 864"/>
                <a:gd name="T61" fmla="*/ 14 h 912"/>
                <a:gd name="T62" fmla="*/ 19 w 864"/>
                <a:gd name="T63" fmla="*/ 10 h 912"/>
                <a:gd name="T64" fmla="*/ 19 w 864"/>
                <a:gd name="T65" fmla="*/ 8 h 912"/>
                <a:gd name="T66" fmla="*/ 18 w 864"/>
                <a:gd name="T67" fmla="*/ 5 h 912"/>
                <a:gd name="T68" fmla="*/ 16 w 864"/>
                <a:gd name="T69" fmla="*/ 3 h 912"/>
                <a:gd name="T70" fmla="*/ 13 w 864"/>
                <a:gd name="T71" fmla="*/ 1 h 912"/>
                <a:gd name="T72" fmla="*/ 12 w 864"/>
                <a:gd name="T73" fmla="*/ 1 h 912"/>
                <a:gd name="T74" fmla="*/ 8 w 864"/>
                <a:gd name="T75" fmla="*/ 1 h 912"/>
                <a:gd name="T76" fmla="*/ 6 w 864"/>
                <a:gd name="T77" fmla="*/ 1 h 912"/>
                <a:gd name="T78" fmla="*/ 3 w 864"/>
                <a:gd name="T79" fmla="*/ 3 h 912"/>
                <a:gd name="T80" fmla="*/ 2 w 864"/>
                <a:gd name="T81" fmla="*/ 5 h 912"/>
                <a:gd name="T82" fmla="*/ 1 w 864"/>
                <a:gd name="T83" fmla="*/ 8 h 912"/>
                <a:gd name="T84" fmla="*/ 0 w 864"/>
                <a:gd name="T85" fmla="*/ 10 h 91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64"/>
                <a:gd name="T130" fmla="*/ 0 h 912"/>
                <a:gd name="T131" fmla="*/ 864 w 864"/>
                <a:gd name="T132" fmla="*/ 912 h 91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64" h="912">
                  <a:moveTo>
                    <a:pt x="0" y="457"/>
                  </a:moveTo>
                  <a:cubicBezTo>
                    <a:pt x="0" y="457"/>
                    <a:pt x="0" y="456"/>
                    <a:pt x="0" y="456"/>
                  </a:cubicBezTo>
                  <a:lnTo>
                    <a:pt x="9" y="366"/>
                  </a:lnTo>
                  <a:cubicBezTo>
                    <a:pt x="10" y="365"/>
                    <a:pt x="10" y="365"/>
                    <a:pt x="10" y="364"/>
                  </a:cubicBezTo>
                  <a:lnTo>
                    <a:pt x="34" y="280"/>
                  </a:lnTo>
                  <a:cubicBezTo>
                    <a:pt x="34" y="280"/>
                    <a:pt x="34" y="279"/>
                    <a:pt x="34" y="279"/>
                  </a:cubicBezTo>
                  <a:lnTo>
                    <a:pt x="73" y="203"/>
                  </a:lnTo>
                  <a:cubicBezTo>
                    <a:pt x="74" y="202"/>
                    <a:pt x="74" y="202"/>
                    <a:pt x="74" y="202"/>
                  </a:cubicBezTo>
                  <a:lnTo>
                    <a:pt x="126" y="135"/>
                  </a:lnTo>
                  <a:cubicBezTo>
                    <a:pt x="126" y="134"/>
                    <a:pt x="127" y="134"/>
                    <a:pt x="127" y="133"/>
                  </a:cubicBezTo>
                  <a:lnTo>
                    <a:pt x="190" y="79"/>
                  </a:lnTo>
                  <a:cubicBezTo>
                    <a:pt x="191" y="79"/>
                    <a:pt x="191" y="79"/>
                    <a:pt x="191" y="79"/>
                  </a:cubicBezTo>
                  <a:lnTo>
                    <a:pt x="263" y="37"/>
                  </a:lnTo>
                  <a:cubicBezTo>
                    <a:pt x="264" y="36"/>
                    <a:pt x="264" y="36"/>
                    <a:pt x="265" y="36"/>
                  </a:cubicBezTo>
                  <a:lnTo>
                    <a:pt x="345" y="10"/>
                  </a:lnTo>
                  <a:cubicBezTo>
                    <a:pt x="346" y="10"/>
                    <a:pt x="346" y="10"/>
                    <a:pt x="347" y="10"/>
                  </a:cubicBezTo>
                  <a:lnTo>
                    <a:pt x="432" y="1"/>
                  </a:lnTo>
                  <a:cubicBezTo>
                    <a:pt x="432" y="0"/>
                    <a:pt x="433" y="0"/>
                    <a:pt x="433" y="1"/>
                  </a:cubicBezTo>
                  <a:lnTo>
                    <a:pt x="519" y="10"/>
                  </a:lnTo>
                  <a:cubicBezTo>
                    <a:pt x="520" y="10"/>
                    <a:pt x="520" y="10"/>
                    <a:pt x="521" y="10"/>
                  </a:cubicBezTo>
                  <a:lnTo>
                    <a:pt x="600" y="36"/>
                  </a:lnTo>
                  <a:cubicBezTo>
                    <a:pt x="600" y="36"/>
                    <a:pt x="601" y="36"/>
                    <a:pt x="601" y="37"/>
                  </a:cubicBezTo>
                  <a:lnTo>
                    <a:pt x="673" y="79"/>
                  </a:lnTo>
                  <a:cubicBezTo>
                    <a:pt x="674" y="79"/>
                    <a:pt x="674" y="79"/>
                    <a:pt x="675" y="79"/>
                  </a:cubicBezTo>
                  <a:lnTo>
                    <a:pt x="738" y="133"/>
                  </a:lnTo>
                  <a:cubicBezTo>
                    <a:pt x="738" y="134"/>
                    <a:pt x="738" y="134"/>
                    <a:pt x="739" y="135"/>
                  </a:cubicBezTo>
                  <a:lnTo>
                    <a:pt x="791" y="202"/>
                  </a:lnTo>
                  <a:cubicBezTo>
                    <a:pt x="791" y="202"/>
                    <a:pt x="791" y="202"/>
                    <a:pt x="792" y="203"/>
                  </a:cubicBezTo>
                  <a:lnTo>
                    <a:pt x="831" y="279"/>
                  </a:lnTo>
                  <a:cubicBezTo>
                    <a:pt x="831" y="279"/>
                    <a:pt x="831" y="280"/>
                    <a:pt x="831" y="280"/>
                  </a:cubicBezTo>
                  <a:lnTo>
                    <a:pt x="855" y="364"/>
                  </a:lnTo>
                  <a:cubicBezTo>
                    <a:pt x="855" y="365"/>
                    <a:pt x="855" y="365"/>
                    <a:pt x="855" y="366"/>
                  </a:cubicBezTo>
                  <a:lnTo>
                    <a:pt x="864" y="456"/>
                  </a:lnTo>
                  <a:cubicBezTo>
                    <a:pt x="864" y="456"/>
                    <a:pt x="864" y="457"/>
                    <a:pt x="864" y="457"/>
                  </a:cubicBezTo>
                  <a:lnTo>
                    <a:pt x="855" y="547"/>
                  </a:lnTo>
                  <a:cubicBezTo>
                    <a:pt x="855" y="548"/>
                    <a:pt x="855" y="548"/>
                    <a:pt x="855" y="549"/>
                  </a:cubicBezTo>
                  <a:lnTo>
                    <a:pt x="831" y="634"/>
                  </a:lnTo>
                  <a:cubicBezTo>
                    <a:pt x="831" y="634"/>
                    <a:pt x="831" y="635"/>
                    <a:pt x="831" y="635"/>
                  </a:cubicBezTo>
                  <a:lnTo>
                    <a:pt x="792" y="711"/>
                  </a:lnTo>
                  <a:cubicBezTo>
                    <a:pt x="791" y="712"/>
                    <a:pt x="791" y="712"/>
                    <a:pt x="791" y="712"/>
                  </a:cubicBezTo>
                  <a:lnTo>
                    <a:pt x="739" y="778"/>
                  </a:lnTo>
                  <a:cubicBezTo>
                    <a:pt x="738" y="779"/>
                    <a:pt x="738" y="779"/>
                    <a:pt x="738" y="779"/>
                  </a:cubicBezTo>
                  <a:lnTo>
                    <a:pt x="675" y="834"/>
                  </a:lnTo>
                  <a:cubicBezTo>
                    <a:pt x="674" y="835"/>
                    <a:pt x="674" y="835"/>
                    <a:pt x="673" y="835"/>
                  </a:cubicBezTo>
                  <a:lnTo>
                    <a:pt x="601" y="876"/>
                  </a:lnTo>
                  <a:cubicBezTo>
                    <a:pt x="601" y="877"/>
                    <a:pt x="600" y="877"/>
                    <a:pt x="600" y="877"/>
                  </a:cubicBezTo>
                  <a:lnTo>
                    <a:pt x="521" y="903"/>
                  </a:lnTo>
                  <a:cubicBezTo>
                    <a:pt x="520" y="903"/>
                    <a:pt x="520" y="903"/>
                    <a:pt x="519" y="903"/>
                  </a:cubicBezTo>
                  <a:lnTo>
                    <a:pt x="433" y="912"/>
                  </a:lnTo>
                  <a:cubicBezTo>
                    <a:pt x="433" y="912"/>
                    <a:pt x="432" y="912"/>
                    <a:pt x="432" y="912"/>
                  </a:cubicBezTo>
                  <a:lnTo>
                    <a:pt x="347" y="903"/>
                  </a:lnTo>
                  <a:cubicBezTo>
                    <a:pt x="346" y="903"/>
                    <a:pt x="346" y="903"/>
                    <a:pt x="345" y="903"/>
                  </a:cubicBezTo>
                  <a:lnTo>
                    <a:pt x="265" y="877"/>
                  </a:lnTo>
                  <a:cubicBezTo>
                    <a:pt x="264" y="877"/>
                    <a:pt x="264" y="877"/>
                    <a:pt x="264" y="876"/>
                  </a:cubicBezTo>
                  <a:lnTo>
                    <a:pt x="192" y="835"/>
                  </a:lnTo>
                  <a:cubicBezTo>
                    <a:pt x="191" y="835"/>
                    <a:pt x="191" y="835"/>
                    <a:pt x="190" y="834"/>
                  </a:cubicBezTo>
                  <a:lnTo>
                    <a:pt x="127" y="779"/>
                  </a:lnTo>
                  <a:cubicBezTo>
                    <a:pt x="127" y="779"/>
                    <a:pt x="126" y="779"/>
                    <a:pt x="126" y="778"/>
                  </a:cubicBezTo>
                  <a:lnTo>
                    <a:pt x="74" y="712"/>
                  </a:lnTo>
                  <a:cubicBezTo>
                    <a:pt x="74" y="712"/>
                    <a:pt x="74" y="712"/>
                    <a:pt x="73" y="711"/>
                  </a:cubicBezTo>
                  <a:lnTo>
                    <a:pt x="34" y="635"/>
                  </a:lnTo>
                  <a:cubicBezTo>
                    <a:pt x="34" y="635"/>
                    <a:pt x="34" y="634"/>
                    <a:pt x="34" y="634"/>
                  </a:cubicBezTo>
                  <a:lnTo>
                    <a:pt x="10" y="549"/>
                  </a:lnTo>
                  <a:cubicBezTo>
                    <a:pt x="10" y="548"/>
                    <a:pt x="10" y="548"/>
                    <a:pt x="9" y="547"/>
                  </a:cubicBezTo>
                  <a:lnTo>
                    <a:pt x="0" y="457"/>
                  </a:lnTo>
                  <a:close/>
                  <a:moveTo>
                    <a:pt x="25" y="546"/>
                  </a:moveTo>
                  <a:lnTo>
                    <a:pt x="25" y="544"/>
                  </a:lnTo>
                  <a:lnTo>
                    <a:pt x="49" y="629"/>
                  </a:lnTo>
                  <a:lnTo>
                    <a:pt x="49" y="628"/>
                  </a:lnTo>
                  <a:lnTo>
                    <a:pt x="88" y="704"/>
                  </a:lnTo>
                  <a:lnTo>
                    <a:pt x="87" y="703"/>
                  </a:lnTo>
                  <a:lnTo>
                    <a:pt x="139" y="769"/>
                  </a:lnTo>
                  <a:lnTo>
                    <a:pt x="138" y="767"/>
                  </a:lnTo>
                  <a:lnTo>
                    <a:pt x="201" y="822"/>
                  </a:lnTo>
                  <a:lnTo>
                    <a:pt x="199" y="822"/>
                  </a:lnTo>
                  <a:lnTo>
                    <a:pt x="271" y="863"/>
                  </a:lnTo>
                  <a:lnTo>
                    <a:pt x="270" y="862"/>
                  </a:lnTo>
                  <a:lnTo>
                    <a:pt x="350" y="888"/>
                  </a:lnTo>
                  <a:lnTo>
                    <a:pt x="348" y="888"/>
                  </a:lnTo>
                  <a:lnTo>
                    <a:pt x="433" y="897"/>
                  </a:lnTo>
                  <a:lnTo>
                    <a:pt x="432" y="897"/>
                  </a:lnTo>
                  <a:lnTo>
                    <a:pt x="518" y="888"/>
                  </a:lnTo>
                  <a:lnTo>
                    <a:pt x="516" y="888"/>
                  </a:lnTo>
                  <a:lnTo>
                    <a:pt x="595" y="862"/>
                  </a:lnTo>
                  <a:lnTo>
                    <a:pt x="594" y="863"/>
                  </a:lnTo>
                  <a:lnTo>
                    <a:pt x="666" y="822"/>
                  </a:lnTo>
                  <a:lnTo>
                    <a:pt x="664" y="822"/>
                  </a:lnTo>
                  <a:lnTo>
                    <a:pt x="727" y="767"/>
                  </a:lnTo>
                  <a:lnTo>
                    <a:pt x="726" y="769"/>
                  </a:lnTo>
                  <a:lnTo>
                    <a:pt x="778" y="703"/>
                  </a:lnTo>
                  <a:lnTo>
                    <a:pt x="777" y="704"/>
                  </a:lnTo>
                  <a:lnTo>
                    <a:pt x="816" y="628"/>
                  </a:lnTo>
                  <a:lnTo>
                    <a:pt x="816" y="629"/>
                  </a:lnTo>
                  <a:lnTo>
                    <a:pt x="840" y="544"/>
                  </a:lnTo>
                  <a:lnTo>
                    <a:pt x="839" y="546"/>
                  </a:lnTo>
                  <a:lnTo>
                    <a:pt x="848" y="456"/>
                  </a:lnTo>
                  <a:lnTo>
                    <a:pt x="848" y="457"/>
                  </a:lnTo>
                  <a:lnTo>
                    <a:pt x="839" y="367"/>
                  </a:lnTo>
                  <a:lnTo>
                    <a:pt x="840" y="369"/>
                  </a:lnTo>
                  <a:lnTo>
                    <a:pt x="816" y="285"/>
                  </a:lnTo>
                  <a:lnTo>
                    <a:pt x="816" y="286"/>
                  </a:lnTo>
                  <a:lnTo>
                    <a:pt x="777" y="210"/>
                  </a:lnTo>
                  <a:lnTo>
                    <a:pt x="778" y="211"/>
                  </a:lnTo>
                  <a:lnTo>
                    <a:pt x="726" y="144"/>
                  </a:lnTo>
                  <a:lnTo>
                    <a:pt x="727" y="146"/>
                  </a:lnTo>
                  <a:lnTo>
                    <a:pt x="664" y="92"/>
                  </a:lnTo>
                  <a:lnTo>
                    <a:pt x="665" y="92"/>
                  </a:lnTo>
                  <a:lnTo>
                    <a:pt x="593" y="50"/>
                  </a:lnTo>
                  <a:lnTo>
                    <a:pt x="595" y="51"/>
                  </a:lnTo>
                  <a:lnTo>
                    <a:pt x="516" y="25"/>
                  </a:lnTo>
                  <a:lnTo>
                    <a:pt x="518" y="25"/>
                  </a:lnTo>
                  <a:lnTo>
                    <a:pt x="432" y="16"/>
                  </a:lnTo>
                  <a:lnTo>
                    <a:pt x="433" y="16"/>
                  </a:lnTo>
                  <a:lnTo>
                    <a:pt x="348" y="25"/>
                  </a:lnTo>
                  <a:lnTo>
                    <a:pt x="350" y="25"/>
                  </a:lnTo>
                  <a:lnTo>
                    <a:pt x="270" y="51"/>
                  </a:lnTo>
                  <a:lnTo>
                    <a:pt x="271" y="50"/>
                  </a:lnTo>
                  <a:lnTo>
                    <a:pt x="199" y="92"/>
                  </a:lnTo>
                  <a:lnTo>
                    <a:pt x="201" y="92"/>
                  </a:lnTo>
                  <a:lnTo>
                    <a:pt x="138" y="146"/>
                  </a:lnTo>
                  <a:lnTo>
                    <a:pt x="139" y="144"/>
                  </a:lnTo>
                  <a:lnTo>
                    <a:pt x="87" y="211"/>
                  </a:lnTo>
                  <a:lnTo>
                    <a:pt x="88" y="210"/>
                  </a:lnTo>
                  <a:lnTo>
                    <a:pt x="49" y="286"/>
                  </a:lnTo>
                  <a:lnTo>
                    <a:pt x="49" y="285"/>
                  </a:lnTo>
                  <a:lnTo>
                    <a:pt x="25" y="369"/>
                  </a:lnTo>
                  <a:lnTo>
                    <a:pt x="25" y="367"/>
                  </a:lnTo>
                  <a:lnTo>
                    <a:pt x="16" y="457"/>
                  </a:lnTo>
                  <a:lnTo>
                    <a:pt x="16" y="456"/>
                  </a:lnTo>
                  <a:lnTo>
                    <a:pt x="25" y="546"/>
                  </a:lnTo>
                  <a:close/>
                </a:path>
              </a:pathLst>
            </a:custGeom>
            <a:solidFill>
              <a:srgbClr val="000000"/>
            </a:solidFill>
            <a:ln w="0">
              <a:solidFill>
                <a:srgbClr val="000000"/>
              </a:solidFill>
              <a:round/>
              <a:headEnd/>
              <a:tailEnd/>
            </a:ln>
          </p:spPr>
          <p:txBody>
            <a:bodyPr/>
            <a:lstStyle/>
            <a:p>
              <a:endParaRPr lang="en-US"/>
            </a:p>
          </p:txBody>
        </p:sp>
        <p:sp>
          <p:nvSpPr>
            <p:cNvPr id="42171" name="Rectangle 204"/>
            <p:cNvSpPr>
              <a:spLocks noChangeArrowheads="1"/>
            </p:cNvSpPr>
            <p:nvPr/>
          </p:nvSpPr>
          <p:spPr bwMode="auto">
            <a:xfrm>
              <a:off x="3995" y="2415"/>
              <a:ext cx="95" cy="81"/>
            </a:xfrm>
            <a:prstGeom prst="rect">
              <a:avLst/>
            </a:prstGeom>
            <a:solidFill>
              <a:srgbClr val="FFFFCC"/>
            </a:solidFill>
            <a:ln w="9525">
              <a:noFill/>
              <a:miter lim="800000"/>
              <a:headEnd/>
              <a:tailEnd/>
            </a:ln>
          </p:spPr>
          <p:txBody>
            <a:bodyPr/>
            <a:lstStyle/>
            <a:p>
              <a:endParaRPr lang="en-US"/>
            </a:p>
          </p:txBody>
        </p:sp>
        <p:sp>
          <p:nvSpPr>
            <p:cNvPr id="42172" name="Freeform 162"/>
            <p:cNvSpPr>
              <a:spLocks noEditPoints="1"/>
            </p:cNvSpPr>
            <p:nvPr/>
          </p:nvSpPr>
          <p:spPr bwMode="auto">
            <a:xfrm>
              <a:off x="3127" y="1568"/>
              <a:ext cx="560" cy="66"/>
            </a:xfrm>
            <a:custGeom>
              <a:avLst/>
              <a:gdLst>
                <a:gd name="T0" fmla="*/ 1011 w 200"/>
                <a:gd name="T1" fmla="*/ 5 h 90"/>
                <a:gd name="T2" fmla="*/ 3536 w 200"/>
                <a:gd name="T3" fmla="*/ 21 h 90"/>
                <a:gd name="T4" fmla="*/ 3380 w 200"/>
                <a:gd name="T5" fmla="*/ 30 h 90"/>
                <a:gd name="T6" fmla="*/ 854 w 200"/>
                <a:gd name="T7" fmla="*/ 14 h 90"/>
                <a:gd name="T8" fmla="*/ 1011 w 200"/>
                <a:gd name="T9" fmla="*/ 5 h 90"/>
                <a:gd name="T10" fmla="*/ 924 w 200"/>
                <a:gd name="T11" fmla="*/ 10 h 90"/>
                <a:gd name="T12" fmla="*/ 1145 w 200"/>
                <a:gd name="T13" fmla="*/ 25 h 90"/>
                <a:gd name="T14" fmla="*/ 0 w 200"/>
                <a:gd name="T15" fmla="*/ 4 h 90"/>
                <a:gd name="T16" fmla="*/ 1646 w 200"/>
                <a:gd name="T17" fmla="*/ 0 h 90"/>
                <a:gd name="T18" fmla="*/ 924 w 200"/>
                <a:gd name="T19" fmla="*/ 10 h 90"/>
                <a:gd name="T20" fmla="*/ 3450 w 200"/>
                <a:gd name="T21" fmla="*/ 26 h 90"/>
                <a:gd name="T22" fmla="*/ 3245 w 200"/>
                <a:gd name="T23" fmla="*/ 10 h 90"/>
                <a:gd name="T24" fmla="*/ 4390 w 200"/>
                <a:gd name="T25" fmla="*/ 32 h 90"/>
                <a:gd name="T26" fmla="*/ 2744 w 200"/>
                <a:gd name="T27" fmla="*/ 35 h 90"/>
                <a:gd name="T28" fmla="*/ 3450 w 200"/>
                <a:gd name="T29" fmla="*/ 26 h 9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0"/>
                <a:gd name="T46" fmla="*/ 0 h 90"/>
                <a:gd name="T47" fmla="*/ 200 w 200"/>
                <a:gd name="T48" fmla="*/ 90 h 9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0" h="90">
                  <a:moveTo>
                    <a:pt x="46" y="14"/>
                  </a:moveTo>
                  <a:lnTo>
                    <a:pt x="161" y="55"/>
                  </a:lnTo>
                  <a:lnTo>
                    <a:pt x="154" y="76"/>
                  </a:lnTo>
                  <a:lnTo>
                    <a:pt x="39" y="35"/>
                  </a:lnTo>
                  <a:lnTo>
                    <a:pt x="46" y="14"/>
                  </a:lnTo>
                  <a:close/>
                  <a:moveTo>
                    <a:pt x="42" y="24"/>
                  </a:moveTo>
                  <a:lnTo>
                    <a:pt x="52" y="63"/>
                  </a:lnTo>
                  <a:lnTo>
                    <a:pt x="0" y="9"/>
                  </a:lnTo>
                  <a:lnTo>
                    <a:pt x="75" y="0"/>
                  </a:lnTo>
                  <a:lnTo>
                    <a:pt x="42" y="24"/>
                  </a:lnTo>
                  <a:close/>
                  <a:moveTo>
                    <a:pt x="157" y="65"/>
                  </a:moveTo>
                  <a:lnTo>
                    <a:pt x="148" y="26"/>
                  </a:lnTo>
                  <a:lnTo>
                    <a:pt x="200" y="80"/>
                  </a:lnTo>
                  <a:lnTo>
                    <a:pt x="125" y="90"/>
                  </a:lnTo>
                  <a:lnTo>
                    <a:pt x="157" y="65"/>
                  </a:lnTo>
                  <a:close/>
                </a:path>
              </a:pathLst>
            </a:custGeom>
            <a:solidFill>
              <a:srgbClr val="2D2D8A"/>
            </a:solidFill>
            <a:ln w="0">
              <a:solidFill>
                <a:srgbClr val="2D2D8A"/>
              </a:solidFill>
              <a:round/>
              <a:headEnd/>
              <a:tailEnd/>
            </a:ln>
          </p:spPr>
          <p:txBody>
            <a:bodyPr/>
            <a:lstStyle/>
            <a:p>
              <a:endParaRPr lang="en-US"/>
            </a:p>
          </p:txBody>
        </p:sp>
        <p:sp>
          <p:nvSpPr>
            <p:cNvPr id="42173" name="Freeform 162"/>
            <p:cNvSpPr>
              <a:spLocks noEditPoints="1"/>
            </p:cNvSpPr>
            <p:nvPr/>
          </p:nvSpPr>
          <p:spPr bwMode="auto">
            <a:xfrm flipH="1">
              <a:off x="3455" y="1654"/>
              <a:ext cx="232" cy="115"/>
            </a:xfrm>
            <a:custGeom>
              <a:avLst/>
              <a:gdLst>
                <a:gd name="T0" fmla="*/ 71 w 200"/>
                <a:gd name="T1" fmla="*/ 29 h 90"/>
                <a:gd name="T2" fmla="*/ 252 w 200"/>
                <a:gd name="T3" fmla="*/ 114 h 90"/>
                <a:gd name="T4" fmla="*/ 241 w 200"/>
                <a:gd name="T5" fmla="*/ 158 h 90"/>
                <a:gd name="T6" fmla="*/ 60 w 200"/>
                <a:gd name="T7" fmla="*/ 74 h 90"/>
                <a:gd name="T8" fmla="*/ 71 w 200"/>
                <a:gd name="T9" fmla="*/ 29 h 90"/>
                <a:gd name="T10" fmla="*/ 66 w 200"/>
                <a:gd name="T11" fmla="*/ 51 h 90"/>
                <a:gd name="T12" fmla="*/ 81 w 200"/>
                <a:gd name="T13" fmla="*/ 130 h 90"/>
                <a:gd name="T14" fmla="*/ 0 w 200"/>
                <a:gd name="T15" fmla="*/ 19 h 90"/>
                <a:gd name="T16" fmla="*/ 117 w 200"/>
                <a:gd name="T17" fmla="*/ 0 h 90"/>
                <a:gd name="T18" fmla="*/ 66 w 200"/>
                <a:gd name="T19" fmla="*/ 51 h 90"/>
                <a:gd name="T20" fmla="*/ 245 w 200"/>
                <a:gd name="T21" fmla="*/ 135 h 90"/>
                <a:gd name="T22" fmla="*/ 232 w 200"/>
                <a:gd name="T23" fmla="*/ 54 h 90"/>
                <a:gd name="T24" fmla="*/ 312 w 200"/>
                <a:gd name="T25" fmla="*/ 166 h 90"/>
                <a:gd name="T26" fmla="*/ 195 w 200"/>
                <a:gd name="T27" fmla="*/ 188 h 90"/>
                <a:gd name="T28" fmla="*/ 245 w 200"/>
                <a:gd name="T29" fmla="*/ 135 h 9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0"/>
                <a:gd name="T46" fmla="*/ 0 h 90"/>
                <a:gd name="T47" fmla="*/ 200 w 200"/>
                <a:gd name="T48" fmla="*/ 90 h 9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0" h="90">
                  <a:moveTo>
                    <a:pt x="46" y="14"/>
                  </a:moveTo>
                  <a:lnTo>
                    <a:pt x="161" y="55"/>
                  </a:lnTo>
                  <a:lnTo>
                    <a:pt x="154" y="76"/>
                  </a:lnTo>
                  <a:lnTo>
                    <a:pt x="39" y="35"/>
                  </a:lnTo>
                  <a:lnTo>
                    <a:pt x="46" y="14"/>
                  </a:lnTo>
                  <a:close/>
                  <a:moveTo>
                    <a:pt x="42" y="24"/>
                  </a:moveTo>
                  <a:lnTo>
                    <a:pt x="52" y="63"/>
                  </a:lnTo>
                  <a:lnTo>
                    <a:pt x="0" y="9"/>
                  </a:lnTo>
                  <a:lnTo>
                    <a:pt x="75" y="0"/>
                  </a:lnTo>
                  <a:lnTo>
                    <a:pt x="42" y="24"/>
                  </a:lnTo>
                  <a:close/>
                  <a:moveTo>
                    <a:pt x="157" y="65"/>
                  </a:moveTo>
                  <a:lnTo>
                    <a:pt x="148" y="26"/>
                  </a:lnTo>
                  <a:lnTo>
                    <a:pt x="200" y="80"/>
                  </a:lnTo>
                  <a:lnTo>
                    <a:pt x="125" y="90"/>
                  </a:lnTo>
                  <a:lnTo>
                    <a:pt x="157" y="65"/>
                  </a:lnTo>
                  <a:close/>
                </a:path>
              </a:pathLst>
            </a:custGeom>
            <a:solidFill>
              <a:srgbClr val="2D2D8A"/>
            </a:solidFill>
            <a:ln w="0">
              <a:solidFill>
                <a:srgbClr val="2D2D8A"/>
              </a:solidFill>
              <a:round/>
              <a:headEnd/>
              <a:tailEnd/>
            </a:ln>
          </p:spPr>
          <p:txBody>
            <a:bodyPr/>
            <a:lstStyle/>
            <a:p>
              <a:endParaRPr lang="en-US"/>
            </a:p>
          </p:txBody>
        </p:sp>
        <p:sp>
          <p:nvSpPr>
            <p:cNvPr id="42174" name="Freeform 162"/>
            <p:cNvSpPr>
              <a:spLocks noEditPoints="1"/>
            </p:cNvSpPr>
            <p:nvPr/>
          </p:nvSpPr>
          <p:spPr bwMode="auto">
            <a:xfrm>
              <a:off x="3783" y="1736"/>
              <a:ext cx="135" cy="183"/>
            </a:xfrm>
            <a:custGeom>
              <a:avLst/>
              <a:gdLst>
                <a:gd name="T0" fmla="*/ 14 w 200"/>
                <a:gd name="T1" fmla="*/ 116 h 90"/>
                <a:gd name="T2" fmla="*/ 50 w 200"/>
                <a:gd name="T3" fmla="*/ 464 h 90"/>
                <a:gd name="T4" fmla="*/ 47 w 200"/>
                <a:gd name="T5" fmla="*/ 641 h 90"/>
                <a:gd name="T6" fmla="*/ 12 w 200"/>
                <a:gd name="T7" fmla="*/ 293 h 90"/>
                <a:gd name="T8" fmla="*/ 14 w 200"/>
                <a:gd name="T9" fmla="*/ 116 h 90"/>
                <a:gd name="T10" fmla="*/ 13 w 200"/>
                <a:gd name="T11" fmla="*/ 203 h 90"/>
                <a:gd name="T12" fmla="*/ 16 w 200"/>
                <a:gd name="T13" fmla="*/ 529 h 90"/>
                <a:gd name="T14" fmla="*/ 0 w 200"/>
                <a:gd name="T15" fmla="*/ 75 h 90"/>
                <a:gd name="T16" fmla="*/ 23 w 200"/>
                <a:gd name="T17" fmla="*/ 0 h 90"/>
                <a:gd name="T18" fmla="*/ 13 w 200"/>
                <a:gd name="T19" fmla="*/ 203 h 90"/>
                <a:gd name="T20" fmla="*/ 49 w 200"/>
                <a:gd name="T21" fmla="*/ 545 h 90"/>
                <a:gd name="T22" fmla="*/ 46 w 200"/>
                <a:gd name="T23" fmla="*/ 220 h 90"/>
                <a:gd name="T24" fmla="*/ 61 w 200"/>
                <a:gd name="T25" fmla="*/ 673 h 90"/>
                <a:gd name="T26" fmla="*/ 38 w 200"/>
                <a:gd name="T27" fmla="*/ 756 h 90"/>
                <a:gd name="T28" fmla="*/ 49 w 200"/>
                <a:gd name="T29" fmla="*/ 545 h 9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0"/>
                <a:gd name="T46" fmla="*/ 0 h 90"/>
                <a:gd name="T47" fmla="*/ 200 w 200"/>
                <a:gd name="T48" fmla="*/ 90 h 9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0" h="90">
                  <a:moveTo>
                    <a:pt x="46" y="14"/>
                  </a:moveTo>
                  <a:lnTo>
                    <a:pt x="161" y="55"/>
                  </a:lnTo>
                  <a:lnTo>
                    <a:pt x="154" y="76"/>
                  </a:lnTo>
                  <a:lnTo>
                    <a:pt x="39" y="35"/>
                  </a:lnTo>
                  <a:lnTo>
                    <a:pt x="46" y="14"/>
                  </a:lnTo>
                  <a:close/>
                  <a:moveTo>
                    <a:pt x="42" y="24"/>
                  </a:moveTo>
                  <a:lnTo>
                    <a:pt x="52" y="63"/>
                  </a:lnTo>
                  <a:lnTo>
                    <a:pt x="0" y="9"/>
                  </a:lnTo>
                  <a:lnTo>
                    <a:pt x="75" y="0"/>
                  </a:lnTo>
                  <a:lnTo>
                    <a:pt x="42" y="24"/>
                  </a:lnTo>
                  <a:close/>
                  <a:moveTo>
                    <a:pt x="157" y="65"/>
                  </a:moveTo>
                  <a:lnTo>
                    <a:pt x="148" y="26"/>
                  </a:lnTo>
                  <a:lnTo>
                    <a:pt x="200" y="80"/>
                  </a:lnTo>
                  <a:lnTo>
                    <a:pt x="125" y="90"/>
                  </a:lnTo>
                  <a:lnTo>
                    <a:pt x="157" y="65"/>
                  </a:lnTo>
                  <a:close/>
                </a:path>
              </a:pathLst>
            </a:custGeom>
            <a:solidFill>
              <a:srgbClr val="2D2D8A"/>
            </a:solidFill>
            <a:ln w="0">
              <a:solidFill>
                <a:srgbClr val="2D2D8A"/>
              </a:solidFill>
              <a:round/>
              <a:headEnd/>
              <a:tailEnd/>
            </a:ln>
          </p:spPr>
          <p:txBody>
            <a:bodyPr/>
            <a:lstStyle/>
            <a:p>
              <a:endParaRPr lang="en-US"/>
            </a:p>
          </p:txBody>
        </p:sp>
        <p:sp>
          <p:nvSpPr>
            <p:cNvPr id="42175" name="Freeform 162"/>
            <p:cNvSpPr>
              <a:spLocks noEditPoints="1"/>
            </p:cNvSpPr>
            <p:nvPr/>
          </p:nvSpPr>
          <p:spPr bwMode="auto">
            <a:xfrm rot="-3713056">
              <a:off x="3615" y="2020"/>
              <a:ext cx="215" cy="144"/>
            </a:xfrm>
            <a:custGeom>
              <a:avLst/>
              <a:gdLst>
                <a:gd name="T0" fmla="*/ 57 w 200"/>
                <a:gd name="T1" fmla="*/ 56 h 90"/>
                <a:gd name="T2" fmla="*/ 200 w 200"/>
                <a:gd name="T3" fmla="*/ 226 h 90"/>
                <a:gd name="T4" fmla="*/ 191 w 200"/>
                <a:gd name="T5" fmla="*/ 312 h 90"/>
                <a:gd name="T6" fmla="*/ 48 w 200"/>
                <a:gd name="T7" fmla="*/ 144 h 90"/>
                <a:gd name="T8" fmla="*/ 57 w 200"/>
                <a:gd name="T9" fmla="*/ 56 h 90"/>
                <a:gd name="T10" fmla="*/ 52 w 200"/>
                <a:gd name="T11" fmla="*/ 98 h 90"/>
                <a:gd name="T12" fmla="*/ 64 w 200"/>
                <a:gd name="T13" fmla="*/ 259 h 90"/>
                <a:gd name="T14" fmla="*/ 0 w 200"/>
                <a:gd name="T15" fmla="*/ 35 h 90"/>
                <a:gd name="T16" fmla="*/ 94 w 200"/>
                <a:gd name="T17" fmla="*/ 0 h 90"/>
                <a:gd name="T18" fmla="*/ 52 w 200"/>
                <a:gd name="T19" fmla="*/ 98 h 90"/>
                <a:gd name="T20" fmla="*/ 196 w 200"/>
                <a:gd name="T21" fmla="*/ 266 h 90"/>
                <a:gd name="T22" fmla="*/ 184 w 200"/>
                <a:gd name="T23" fmla="*/ 107 h 90"/>
                <a:gd name="T24" fmla="*/ 248 w 200"/>
                <a:gd name="T25" fmla="*/ 328 h 90"/>
                <a:gd name="T26" fmla="*/ 155 w 200"/>
                <a:gd name="T27" fmla="*/ 368 h 90"/>
                <a:gd name="T28" fmla="*/ 196 w 200"/>
                <a:gd name="T29" fmla="*/ 266 h 9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0"/>
                <a:gd name="T46" fmla="*/ 0 h 90"/>
                <a:gd name="T47" fmla="*/ 200 w 200"/>
                <a:gd name="T48" fmla="*/ 90 h 9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0" h="90">
                  <a:moveTo>
                    <a:pt x="46" y="14"/>
                  </a:moveTo>
                  <a:lnTo>
                    <a:pt x="161" y="55"/>
                  </a:lnTo>
                  <a:lnTo>
                    <a:pt x="154" y="76"/>
                  </a:lnTo>
                  <a:lnTo>
                    <a:pt x="39" y="35"/>
                  </a:lnTo>
                  <a:lnTo>
                    <a:pt x="46" y="14"/>
                  </a:lnTo>
                  <a:close/>
                  <a:moveTo>
                    <a:pt x="42" y="24"/>
                  </a:moveTo>
                  <a:lnTo>
                    <a:pt x="52" y="63"/>
                  </a:lnTo>
                  <a:lnTo>
                    <a:pt x="0" y="9"/>
                  </a:lnTo>
                  <a:lnTo>
                    <a:pt x="75" y="0"/>
                  </a:lnTo>
                  <a:lnTo>
                    <a:pt x="42" y="24"/>
                  </a:lnTo>
                  <a:close/>
                  <a:moveTo>
                    <a:pt x="157" y="65"/>
                  </a:moveTo>
                  <a:lnTo>
                    <a:pt x="148" y="26"/>
                  </a:lnTo>
                  <a:lnTo>
                    <a:pt x="200" y="80"/>
                  </a:lnTo>
                  <a:lnTo>
                    <a:pt x="125" y="90"/>
                  </a:lnTo>
                  <a:lnTo>
                    <a:pt x="157" y="65"/>
                  </a:lnTo>
                  <a:close/>
                </a:path>
              </a:pathLst>
            </a:custGeom>
            <a:solidFill>
              <a:srgbClr val="2D2D8A"/>
            </a:solidFill>
            <a:ln w="0">
              <a:solidFill>
                <a:srgbClr val="2D2D8A"/>
              </a:solidFill>
              <a:round/>
              <a:headEnd/>
              <a:tailEnd/>
            </a:ln>
          </p:spPr>
          <p:txBody>
            <a:bodyPr/>
            <a:lstStyle/>
            <a:p>
              <a:endParaRPr lang="en-US"/>
            </a:p>
          </p:txBody>
        </p:sp>
      </p:grpSp>
      <p:sp>
        <p:nvSpPr>
          <p:cNvPr id="41991" name="Rectangle 206"/>
          <p:cNvSpPr>
            <a:spLocks noChangeArrowheads="1"/>
          </p:cNvSpPr>
          <p:nvPr/>
        </p:nvSpPr>
        <p:spPr bwMode="auto">
          <a:xfrm>
            <a:off x="5907088" y="4603750"/>
            <a:ext cx="242887" cy="171450"/>
          </a:xfrm>
          <a:prstGeom prst="rect">
            <a:avLst/>
          </a:prstGeom>
          <a:noFill/>
          <a:ln w="9525">
            <a:noFill/>
            <a:miter lim="800000"/>
            <a:headEnd/>
            <a:tailEnd/>
          </a:ln>
        </p:spPr>
        <p:txBody>
          <a:bodyPr wrap="none" lIns="0" tIns="0" rIns="0" bIns="0">
            <a:spAutoFit/>
          </a:bodyPr>
          <a:lstStyle/>
          <a:p>
            <a:r>
              <a:rPr lang="en-US" sz="1000">
                <a:solidFill>
                  <a:srgbClr val="000000"/>
                </a:solidFill>
              </a:rPr>
              <a:t>BG</a:t>
            </a:r>
            <a:endParaRPr lang="en-US"/>
          </a:p>
        </p:txBody>
      </p:sp>
      <p:sp>
        <p:nvSpPr>
          <p:cNvPr id="41992" name="Freeform 207"/>
          <p:cNvSpPr>
            <a:spLocks noEditPoints="1"/>
          </p:cNvSpPr>
          <p:nvPr/>
        </p:nvSpPr>
        <p:spPr bwMode="auto">
          <a:xfrm>
            <a:off x="5494338" y="4762500"/>
            <a:ext cx="347662" cy="120650"/>
          </a:xfrm>
          <a:custGeom>
            <a:avLst/>
            <a:gdLst>
              <a:gd name="T0" fmla="*/ 2147483647 w 219"/>
              <a:gd name="T1" fmla="*/ 2147483647 h 76"/>
              <a:gd name="T2" fmla="*/ 2147483647 w 219"/>
              <a:gd name="T3" fmla="*/ 2147483647 h 76"/>
              <a:gd name="T4" fmla="*/ 2147483647 w 219"/>
              <a:gd name="T5" fmla="*/ 2147483647 h 76"/>
              <a:gd name="T6" fmla="*/ 2147483647 w 219"/>
              <a:gd name="T7" fmla="*/ 2147483647 h 76"/>
              <a:gd name="T8" fmla="*/ 2147483647 w 219"/>
              <a:gd name="T9" fmla="*/ 2147483647 h 76"/>
              <a:gd name="T10" fmla="*/ 2147483647 w 219"/>
              <a:gd name="T11" fmla="*/ 2147483647 h 76"/>
              <a:gd name="T12" fmla="*/ 2147483647 w 219"/>
              <a:gd name="T13" fmla="*/ 0 h 76"/>
              <a:gd name="T14" fmla="*/ 2147483647 w 219"/>
              <a:gd name="T15" fmla="*/ 2147483647 h 76"/>
              <a:gd name="T16" fmla="*/ 2147483647 w 219"/>
              <a:gd name="T17" fmla="*/ 2147483647 h 76"/>
              <a:gd name="T18" fmla="*/ 2147483647 w 219"/>
              <a:gd name="T19" fmla="*/ 2147483647 h 76"/>
              <a:gd name="T20" fmla="*/ 2147483647 w 219"/>
              <a:gd name="T21" fmla="*/ 2147483647 h 76"/>
              <a:gd name="T22" fmla="*/ 2147483647 w 219"/>
              <a:gd name="T23" fmla="*/ 2147483647 h 76"/>
              <a:gd name="T24" fmla="*/ 0 w 219"/>
              <a:gd name="T25" fmla="*/ 2147483647 h 76"/>
              <a:gd name="T26" fmla="*/ 2147483647 w 219"/>
              <a:gd name="T27" fmla="*/ 2147483647 h 76"/>
              <a:gd name="T28" fmla="*/ 2147483647 w 219"/>
              <a:gd name="T29" fmla="*/ 2147483647 h 7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9"/>
              <a:gd name="T46" fmla="*/ 0 h 76"/>
              <a:gd name="T47" fmla="*/ 219 w 219"/>
              <a:gd name="T48" fmla="*/ 76 h 7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9" h="76">
                <a:moveTo>
                  <a:pt x="176" y="43"/>
                </a:moveTo>
                <a:lnTo>
                  <a:pt x="46" y="56"/>
                </a:lnTo>
                <a:lnTo>
                  <a:pt x="44" y="33"/>
                </a:lnTo>
                <a:lnTo>
                  <a:pt x="173" y="20"/>
                </a:lnTo>
                <a:lnTo>
                  <a:pt x="176" y="43"/>
                </a:lnTo>
                <a:close/>
                <a:moveTo>
                  <a:pt x="175" y="31"/>
                </a:moveTo>
                <a:lnTo>
                  <a:pt x="149" y="0"/>
                </a:lnTo>
                <a:lnTo>
                  <a:pt x="219" y="27"/>
                </a:lnTo>
                <a:lnTo>
                  <a:pt x="156" y="67"/>
                </a:lnTo>
                <a:lnTo>
                  <a:pt x="175" y="31"/>
                </a:lnTo>
                <a:close/>
                <a:moveTo>
                  <a:pt x="45" y="45"/>
                </a:moveTo>
                <a:lnTo>
                  <a:pt x="71" y="76"/>
                </a:lnTo>
                <a:lnTo>
                  <a:pt x="0" y="49"/>
                </a:lnTo>
                <a:lnTo>
                  <a:pt x="64" y="9"/>
                </a:lnTo>
                <a:lnTo>
                  <a:pt x="45" y="45"/>
                </a:lnTo>
                <a:close/>
              </a:path>
            </a:pathLst>
          </a:custGeom>
          <a:solidFill>
            <a:srgbClr val="FFFF00"/>
          </a:solidFill>
          <a:ln w="0">
            <a:solidFill>
              <a:srgbClr val="FFFF00"/>
            </a:solidFill>
            <a:round/>
            <a:headEnd/>
            <a:tailEnd/>
          </a:ln>
        </p:spPr>
        <p:txBody>
          <a:bodyPr/>
          <a:lstStyle/>
          <a:p>
            <a:endParaRPr lang="en-US"/>
          </a:p>
        </p:txBody>
      </p:sp>
      <p:sp>
        <p:nvSpPr>
          <p:cNvPr id="41993" name="Freeform 208"/>
          <p:cNvSpPr>
            <a:spLocks noEditPoints="1"/>
          </p:cNvSpPr>
          <p:nvPr/>
        </p:nvSpPr>
        <p:spPr bwMode="auto">
          <a:xfrm>
            <a:off x="6108700" y="4319588"/>
            <a:ext cx="163513" cy="200025"/>
          </a:xfrm>
          <a:custGeom>
            <a:avLst/>
            <a:gdLst>
              <a:gd name="T0" fmla="*/ 2147483647 w 103"/>
              <a:gd name="T1" fmla="*/ 2147483647 h 126"/>
              <a:gd name="T2" fmla="*/ 2147483647 w 103"/>
              <a:gd name="T3" fmla="*/ 2147483647 h 126"/>
              <a:gd name="T4" fmla="*/ 2147483647 w 103"/>
              <a:gd name="T5" fmla="*/ 2147483647 h 126"/>
              <a:gd name="T6" fmla="*/ 2147483647 w 103"/>
              <a:gd name="T7" fmla="*/ 2147483647 h 126"/>
              <a:gd name="T8" fmla="*/ 2147483647 w 103"/>
              <a:gd name="T9" fmla="*/ 2147483647 h 126"/>
              <a:gd name="T10" fmla="*/ 2147483647 w 103"/>
              <a:gd name="T11" fmla="*/ 2147483647 h 126"/>
              <a:gd name="T12" fmla="*/ 2147483647 w 103"/>
              <a:gd name="T13" fmla="*/ 2147483647 h 126"/>
              <a:gd name="T14" fmla="*/ 2147483647 w 103"/>
              <a:gd name="T15" fmla="*/ 0 h 126"/>
              <a:gd name="T16" fmla="*/ 2147483647 w 103"/>
              <a:gd name="T17" fmla="*/ 2147483647 h 126"/>
              <a:gd name="T18" fmla="*/ 2147483647 w 103"/>
              <a:gd name="T19" fmla="*/ 2147483647 h 126"/>
              <a:gd name="T20" fmla="*/ 2147483647 w 103"/>
              <a:gd name="T21" fmla="*/ 2147483647 h 126"/>
              <a:gd name="T22" fmla="*/ 2147483647 w 103"/>
              <a:gd name="T23" fmla="*/ 2147483647 h 126"/>
              <a:gd name="T24" fmla="*/ 0 w 103"/>
              <a:gd name="T25" fmla="*/ 2147483647 h 126"/>
              <a:gd name="T26" fmla="*/ 2147483647 w 103"/>
              <a:gd name="T27" fmla="*/ 2147483647 h 126"/>
              <a:gd name="T28" fmla="*/ 2147483647 w 103"/>
              <a:gd name="T29" fmla="*/ 2147483647 h 1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3"/>
              <a:gd name="T46" fmla="*/ 0 h 126"/>
              <a:gd name="T47" fmla="*/ 103 w 103"/>
              <a:gd name="T48" fmla="*/ 126 h 1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3" h="126">
                <a:moveTo>
                  <a:pt x="84" y="42"/>
                </a:moveTo>
                <a:lnTo>
                  <a:pt x="38" y="98"/>
                </a:lnTo>
                <a:lnTo>
                  <a:pt x="20" y="84"/>
                </a:lnTo>
                <a:lnTo>
                  <a:pt x="66" y="27"/>
                </a:lnTo>
                <a:lnTo>
                  <a:pt x="84" y="42"/>
                </a:lnTo>
                <a:close/>
                <a:moveTo>
                  <a:pt x="75" y="34"/>
                </a:moveTo>
                <a:lnTo>
                  <a:pt x="35" y="30"/>
                </a:lnTo>
                <a:lnTo>
                  <a:pt x="103" y="0"/>
                </a:lnTo>
                <a:lnTo>
                  <a:pt x="87" y="73"/>
                </a:lnTo>
                <a:lnTo>
                  <a:pt x="75" y="34"/>
                </a:lnTo>
                <a:close/>
                <a:moveTo>
                  <a:pt x="29" y="91"/>
                </a:moveTo>
                <a:lnTo>
                  <a:pt x="69" y="95"/>
                </a:lnTo>
                <a:lnTo>
                  <a:pt x="0" y="126"/>
                </a:lnTo>
                <a:lnTo>
                  <a:pt x="17" y="52"/>
                </a:lnTo>
                <a:lnTo>
                  <a:pt x="29" y="91"/>
                </a:lnTo>
                <a:close/>
              </a:path>
            </a:pathLst>
          </a:custGeom>
          <a:solidFill>
            <a:srgbClr val="FFFF00"/>
          </a:solidFill>
          <a:ln w="0">
            <a:solidFill>
              <a:srgbClr val="FFFF00"/>
            </a:solidFill>
            <a:round/>
            <a:headEnd/>
            <a:tailEnd/>
          </a:ln>
        </p:spPr>
        <p:txBody>
          <a:bodyPr/>
          <a:lstStyle/>
          <a:p>
            <a:endParaRPr lang="en-US"/>
          </a:p>
        </p:txBody>
      </p:sp>
      <p:sp>
        <p:nvSpPr>
          <p:cNvPr id="41994" name="Freeform 209"/>
          <p:cNvSpPr>
            <a:spLocks noEditPoints="1"/>
          </p:cNvSpPr>
          <p:nvPr/>
        </p:nvSpPr>
        <p:spPr bwMode="auto">
          <a:xfrm>
            <a:off x="5451475" y="4130675"/>
            <a:ext cx="766763" cy="150813"/>
          </a:xfrm>
          <a:custGeom>
            <a:avLst/>
            <a:gdLst>
              <a:gd name="T0" fmla="*/ 2147483647 w 483"/>
              <a:gd name="T1" fmla="*/ 2147483647 h 95"/>
              <a:gd name="T2" fmla="*/ 2147483647 w 483"/>
              <a:gd name="T3" fmla="*/ 2147483647 h 95"/>
              <a:gd name="T4" fmla="*/ 2147483647 w 483"/>
              <a:gd name="T5" fmla="*/ 2147483647 h 95"/>
              <a:gd name="T6" fmla="*/ 2147483647 w 483"/>
              <a:gd name="T7" fmla="*/ 2147483647 h 95"/>
              <a:gd name="T8" fmla="*/ 2147483647 w 483"/>
              <a:gd name="T9" fmla="*/ 2147483647 h 95"/>
              <a:gd name="T10" fmla="*/ 2147483647 w 483"/>
              <a:gd name="T11" fmla="*/ 2147483647 h 95"/>
              <a:gd name="T12" fmla="*/ 2147483647 w 483"/>
              <a:gd name="T13" fmla="*/ 0 h 95"/>
              <a:gd name="T14" fmla="*/ 2147483647 w 483"/>
              <a:gd name="T15" fmla="*/ 2147483647 h 95"/>
              <a:gd name="T16" fmla="*/ 2147483647 w 483"/>
              <a:gd name="T17" fmla="*/ 2147483647 h 95"/>
              <a:gd name="T18" fmla="*/ 2147483647 w 483"/>
              <a:gd name="T19" fmla="*/ 2147483647 h 95"/>
              <a:gd name="T20" fmla="*/ 2147483647 w 483"/>
              <a:gd name="T21" fmla="*/ 2147483647 h 95"/>
              <a:gd name="T22" fmla="*/ 2147483647 w 483"/>
              <a:gd name="T23" fmla="*/ 2147483647 h 95"/>
              <a:gd name="T24" fmla="*/ 0 w 483"/>
              <a:gd name="T25" fmla="*/ 2147483647 h 95"/>
              <a:gd name="T26" fmla="*/ 2147483647 w 483"/>
              <a:gd name="T27" fmla="*/ 2147483647 h 95"/>
              <a:gd name="T28" fmla="*/ 2147483647 w 483"/>
              <a:gd name="T29" fmla="*/ 2147483647 h 9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3"/>
              <a:gd name="T46" fmla="*/ 0 h 95"/>
              <a:gd name="T47" fmla="*/ 483 w 483"/>
              <a:gd name="T48" fmla="*/ 95 h 9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3" h="95">
                <a:moveTo>
                  <a:pt x="439" y="43"/>
                </a:moveTo>
                <a:lnTo>
                  <a:pt x="46" y="75"/>
                </a:lnTo>
                <a:lnTo>
                  <a:pt x="44" y="52"/>
                </a:lnTo>
                <a:lnTo>
                  <a:pt x="438" y="21"/>
                </a:lnTo>
                <a:lnTo>
                  <a:pt x="439" y="43"/>
                </a:lnTo>
                <a:close/>
                <a:moveTo>
                  <a:pt x="438" y="32"/>
                </a:moveTo>
                <a:lnTo>
                  <a:pt x="413" y="0"/>
                </a:lnTo>
                <a:lnTo>
                  <a:pt x="483" y="28"/>
                </a:lnTo>
                <a:lnTo>
                  <a:pt x="419" y="68"/>
                </a:lnTo>
                <a:lnTo>
                  <a:pt x="438" y="32"/>
                </a:lnTo>
                <a:close/>
                <a:moveTo>
                  <a:pt x="45" y="64"/>
                </a:moveTo>
                <a:lnTo>
                  <a:pt x="70" y="95"/>
                </a:lnTo>
                <a:lnTo>
                  <a:pt x="0" y="67"/>
                </a:lnTo>
                <a:lnTo>
                  <a:pt x="65" y="28"/>
                </a:lnTo>
                <a:lnTo>
                  <a:pt x="45" y="64"/>
                </a:lnTo>
                <a:close/>
              </a:path>
            </a:pathLst>
          </a:custGeom>
          <a:solidFill>
            <a:srgbClr val="FFFF00"/>
          </a:solidFill>
          <a:ln w="0">
            <a:solidFill>
              <a:srgbClr val="FFFF00"/>
            </a:solidFill>
            <a:round/>
            <a:headEnd/>
            <a:tailEnd/>
          </a:ln>
        </p:spPr>
        <p:txBody>
          <a:bodyPr/>
          <a:lstStyle/>
          <a:p>
            <a:endParaRPr lang="en-US"/>
          </a:p>
        </p:txBody>
      </p:sp>
      <p:sp>
        <p:nvSpPr>
          <p:cNvPr id="41995" name="Rectangle 210"/>
          <p:cNvSpPr>
            <a:spLocks noChangeArrowheads="1"/>
          </p:cNvSpPr>
          <p:nvPr/>
        </p:nvSpPr>
        <p:spPr bwMode="auto">
          <a:xfrm>
            <a:off x="3482975" y="4737100"/>
            <a:ext cx="92075" cy="171450"/>
          </a:xfrm>
          <a:prstGeom prst="rect">
            <a:avLst/>
          </a:prstGeom>
          <a:noFill/>
          <a:ln w="9525">
            <a:noFill/>
            <a:miter lim="800000"/>
            <a:headEnd/>
            <a:tailEnd/>
          </a:ln>
        </p:spPr>
        <p:txBody>
          <a:bodyPr wrap="none" lIns="0" tIns="0" rIns="0" bIns="0">
            <a:spAutoFit/>
          </a:bodyPr>
          <a:lstStyle/>
          <a:p>
            <a:r>
              <a:rPr lang="en-US" sz="1000">
                <a:solidFill>
                  <a:srgbClr val="000000"/>
                </a:solidFill>
              </a:rPr>
              <a:t>I</a:t>
            </a:r>
            <a:endParaRPr lang="en-US"/>
          </a:p>
        </p:txBody>
      </p:sp>
      <p:sp>
        <p:nvSpPr>
          <p:cNvPr id="41996" name="Rectangle 216"/>
          <p:cNvSpPr>
            <a:spLocks noChangeArrowheads="1"/>
          </p:cNvSpPr>
          <p:nvPr/>
        </p:nvSpPr>
        <p:spPr bwMode="auto">
          <a:xfrm>
            <a:off x="6080125" y="2019300"/>
            <a:ext cx="169863" cy="153988"/>
          </a:xfrm>
          <a:prstGeom prst="rect">
            <a:avLst/>
          </a:prstGeom>
          <a:solidFill>
            <a:srgbClr val="FF0000"/>
          </a:solidFill>
          <a:ln w="9525">
            <a:noFill/>
            <a:miter lim="800000"/>
            <a:headEnd/>
            <a:tailEnd/>
          </a:ln>
        </p:spPr>
        <p:txBody>
          <a:bodyPr wrap="none" lIns="0" tIns="0" rIns="0" bIns="0">
            <a:spAutoFit/>
          </a:bodyPr>
          <a:lstStyle/>
          <a:p>
            <a:r>
              <a:rPr lang="en-US" sz="1000">
                <a:solidFill>
                  <a:srgbClr val="000000"/>
                </a:solidFill>
              </a:rPr>
              <a:t>EE</a:t>
            </a:r>
            <a:endParaRPr lang="en-US"/>
          </a:p>
        </p:txBody>
      </p:sp>
      <p:sp>
        <p:nvSpPr>
          <p:cNvPr id="41997" name="Freeform 217"/>
          <p:cNvSpPr>
            <a:spLocks/>
          </p:cNvSpPr>
          <p:nvPr/>
        </p:nvSpPr>
        <p:spPr bwMode="auto">
          <a:xfrm>
            <a:off x="6323013" y="2232025"/>
            <a:ext cx="322262" cy="350838"/>
          </a:xfrm>
          <a:custGeom>
            <a:avLst/>
            <a:gdLst>
              <a:gd name="T0" fmla="*/ 0 w 720"/>
              <a:gd name="T1" fmla="*/ 2147483647 h 784"/>
              <a:gd name="T2" fmla="*/ 2147483647 w 720"/>
              <a:gd name="T3" fmla="*/ 0 h 784"/>
              <a:gd name="T4" fmla="*/ 2147483647 w 720"/>
              <a:gd name="T5" fmla="*/ 0 h 784"/>
              <a:gd name="T6" fmla="*/ 2147483647 w 720"/>
              <a:gd name="T7" fmla="*/ 0 h 784"/>
              <a:gd name="T8" fmla="*/ 2147483647 w 720"/>
              <a:gd name="T9" fmla="*/ 2147483647 h 784"/>
              <a:gd name="T10" fmla="*/ 2147483647 w 720"/>
              <a:gd name="T11" fmla="*/ 2147483647 h 784"/>
              <a:gd name="T12" fmla="*/ 2147483647 w 720"/>
              <a:gd name="T13" fmla="*/ 2147483647 h 784"/>
              <a:gd name="T14" fmla="*/ 2147483647 w 720"/>
              <a:gd name="T15" fmla="*/ 2147483647 h 784"/>
              <a:gd name="T16" fmla="*/ 2147483647 w 720"/>
              <a:gd name="T17" fmla="*/ 2147483647 h 784"/>
              <a:gd name="T18" fmla="*/ 2147483647 w 720"/>
              <a:gd name="T19" fmla="*/ 2147483647 h 784"/>
              <a:gd name="T20" fmla="*/ 0 w 720"/>
              <a:gd name="T21" fmla="*/ 2147483647 h 784"/>
              <a:gd name="T22" fmla="*/ 0 w 720"/>
              <a:gd name="T23" fmla="*/ 2147483647 h 78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20"/>
              <a:gd name="T37" fmla="*/ 0 h 784"/>
              <a:gd name="T38" fmla="*/ 720 w 720"/>
              <a:gd name="T39" fmla="*/ 784 h 78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20" h="784">
                <a:moveTo>
                  <a:pt x="0" y="392"/>
                </a:moveTo>
                <a:cubicBezTo>
                  <a:pt x="0" y="176"/>
                  <a:pt x="162" y="0"/>
                  <a:pt x="360" y="0"/>
                </a:cubicBezTo>
                <a:cubicBezTo>
                  <a:pt x="360" y="0"/>
                  <a:pt x="360" y="0"/>
                  <a:pt x="360" y="0"/>
                </a:cubicBezTo>
                <a:cubicBezTo>
                  <a:pt x="559" y="0"/>
                  <a:pt x="720" y="176"/>
                  <a:pt x="720" y="392"/>
                </a:cubicBezTo>
                <a:cubicBezTo>
                  <a:pt x="720" y="392"/>
                  <a:pt x="720" y="392"/>
                  <a:pt x="720" y="392"/>
                </a:cubicBezTo>
                <a:cubicBezTo>
                  <a:pt x="720" y="609"/>
                  <a:pt x="559" y="784"/>
                  <a:pt x="360" y="784"/>
                </a:cubicBezTo>
                <a:cubicBezTo>
                  <a:pt x="360" y="784"/>
                  <a:pt x="360" y="784"/>
                  <a:pt x="360" y="784"/>
                </a:cubicBezTo>
                <a:cubicBezTo>
                  <a:pt x="162" y="784"/>
                  <a:pt x="0" y="609"/>
                  <a:pt x="0" y="392"/>
                </a:cubicBezTo>
                <a:cubicBezTo>
                  <a:pt x="0" y="392"/>
                  <a:pt x="0" y="392"/>
                  <a:pt x="0" y="392"/>
                </a:cubicBezTo>
                <a:close/>
              </a:path>
            </a:pathLst>
          </a:custGeom>
          <a:solidFill>
            <a:schemeClr val="bg1"/>
          </a:solidFill>
          <a:ln w="0">
            <a:solidFill>
              <a:srgbClr val="000000"/>
            </a:solidFill>
            <a:round/>
            <a:headEnd/>
            <a:tailEnd/>
          </a:ln>
        </p:spPr>
        <p:txBody>
          <a:bodyPr/>
          <a:lstStyle/>
          <a:p>
            <a:endParaRPr lang="en-US"/>
          </a:p>
        </p:txBody>
      </p:sp>
      <p:sp>
        <p:nvSpPr>
          <p:cNvPr id="41998" name="Rectangle 222"/>
          <p:cNvSpPr>
            <a:spLocks noChangeArrowheads="1"/>
          </p:cNvSpPr>
          <p:nvPr/>
        </p:nvSpPr>
        <p:spPr bwMode="auto">
          <a:xfrm>
            <a:off x="6397625" y="2354263"/>
            <a:ext cx="214313" cy="171450"/>
          </a:xfrm>
          <a:prstGeom prst="rect">
            <a:avLst/>
          </a:prstGeom>
          <a:solidFill>
            <a:srgbClr val="FFFFFF"/>
          </a:solidFill>
          <a:ln w="9525">
            <a:noFill/>
            <a:miter lim="800000"/>
            <a:headEnd/>
            <a:tailEnd/>
          </a:ln>
        </p:spPr>
        <p:txBody>
          <a:bodyPr wrap="none" lIns="0" tIns="0" rIns="0" bIns="0">
            <a:spAutoFit/>
          </a:bodyPr>
          <a:lstStyle/>
          <a:p>
            <a:r>
              <a:rPr lang="en-US" sz="1000">
                <a:solidFill>
                  <a:srgbClr val="000000"/>
                </a:solidFill>
              </a:rPr>
              <a:t>LV</a:t>
            </a:r>
            <a:endParaRPr lang="en-US"/>
          </a:p>
        </p:txBody>
      </p:sp>
      <p:sp>
        <p:nvSpPr>
          <p:cNvPr id="41999" name="Freeform 223"/>
          <p:cNvSpPr>
            <a:spLocks/>
          </p:cNvSpPr>
          <p:nvPr/>
        </p:nvSpPr>
        <p:spPr bwMode="auto">
          <a:xfrm>
            <a:off x="6645275" y="2611438"/>
            <a:ext cx="320675" cy="342900"/>
          </a:xfrm>
          <a:custGeom>
            <a:avLst/>
            <a:gdLst>
              <a:gd name="T0" fmla="*/ 0 w 720"/>
              <a:gd name="T1" fmla="*/ 2147483647 h 768"/>
              <a:gd name="T2" fmla="*/ 2147483647 w 720"/>
              <a:gd name="T3" fmla="*/ 0 h 768"/>
              <a:gd name="T4" fmla="*/ 2147483647 w 720"/>
              <a:gd name="T5" fmla="*/ 0 h 768"/>
              <a:gd name="T6" fmla="*/ 2147483647 w 720"/>
              <a:gd name="T7" fmla="*/ 0 h 768"/>
              <a:gd name="T8" fmla="*/ 2147483647 w 720"/>
              <a:gd name="T9" fmla="*/ 2147483647 h 768"/>
              <a:gd name="T10" fmla="*/ 2147483647 w 720"/>
              <a:gd name="T11" fmla="*/ 2147483647 h 768"/>
              <a:gd name="T12" fmla="*/ 2147483647 w 720"/>
              <a:gd name="T13" fmla="*/ 2147483647 h 768"/>
              <a:gd name="T14" fmla="*/ 2147483647 w 720"/>
              <a:gd name="T15" fmla="*/ 2147483647 h 768"/>
              <a:gd name="T16" fmla="*/ 2147483647 w 720"/>
              <a:gd name="T17" fmla="*/ 2147483647 h 768"/>
              <a:gd name="T18" fmla="*/ 2147483647 w 720"/>
              <a:gd name="T19" fmla="*/ 2147483647 h 768"/>
              <a:gd name="T20" fmla="*/ 0 w 720"/>
              <a:gd name="T21" fmla="*/ 2147483647 h 768"/>
              <a:gd name="T22" fmla="*/ 0 w 720"/>
              <a:gd name="T23" fmla="*/ 2147483647 h 7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20"/>
              <a:gd name="T37" fmla="*/ 0 h 768"/>
              <a:gd name="T38" fmla="*/ 720 w 720"/>
              <a:gd name="T39" fmla="*/ 768 h 76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20" h="768">
                <a:moveTo>
                  <a:pt x="0" y="384"/>
                </a:moveTo>
                <a:cubicBezTo>
                  <a:pt x="0" y="172"/>
                  <a:pt x="162" y="0"/>
                  <a:pt x="360" y="0"/>
                </a:cubicBezTo>
                <a:cubicBezTo>
                  <a:pt x="360" y="0"/>
                  <a:pt x="360" y="0"/>
                  <a:pt x="360" y="0"/>
                </a:cubicBezTo>
                <a:cubicBezTo>
                  <a:pt x="559" y="0"/>
                  <a:pt x="720" y="172"/>
                  <a:pt x="720" y="384"/>
                </a:cubicBezTo>
                <a:cubicBezTo>
                  <a:pt x="720" y="384"/>
                  <a:pt x="720" y="384"/>
                  <a:pt x="720" y="384"/>
                </a:cubicBezTo>
                <a:cubicBezTo>
                  <a:pt x="720" y="597"/>
                  <a:pt x="559" y="768"/>
                  <a:pt x="360" y="768"/>
                </a:cubicBezTo>
                <a:cubicBezTo>
                  <a:pt x="360" y="768"/>
                  <a:pt x="360" y="768"/>
                  <a:pt x="360" y="768"/>
                </a:cubicBezTo>
                <a:cubicBezTo>
                  <a:pt x="162" y="768"/>
                  <a:pt x="0" y="597"/>
                  <a:pt x="0" y="384"/>
                </a:cubicBezTo>
                <a:cubicBezTo>
                  <a:pt x="0" y="384"/>
                  <a:pt x="0" y="384"/>
                  <a:pt x="0" y="384"/>
                </a:cubicBezTo>
                <a:close/>
              </a:path>
            </a:pathLst>
          </a:custGeom>
          <a:solidFill>
            <a:schemeClr val="bg1"/>
          </a:solidFill>
          <a:ln w="0">
            <a:solidFill>
              <a:srgbClr val="000000"/>
            </a:solidFill>
            <a:round/>
            <a:headEnd/>
            <a:tailEnd/>
          </a:ln>
        </p:spPr>
        <p:txBody>
          <a:bodyPr/>
          <a:lstStyle/>
          <a:p>
            <a:endParaRPr lang="en-US"/>
          </a:p>
        </p:txBody>
      </p:sp>
      <p:sp>
        <p:nvSpPr>
          <p:cNvPr id="42000" name="Rectangle 225"/>
          <p:cNvSpPr>
            <a:spLocks noChangeArrowheads="1"/>
          </p:cNvSpPr>
          <p:nvPr/>
        </p:nvSpPr>
        <p:spPr bwMode="auto">
          <a:xfrm>
            <a:off x="6748463" y="2714625"/>
            <a:ext cx="136525" cy="149225"/>
          </a:xfrm>
          <a:prstGeom prst="rect">
            <a:avLst/>
          </a:prstGeom>
          <a:solidFill>
            <a:srgbClr val="FFFFCC"/>
          </a:solidFill>
          <a:ln w="9525">
            <a:noFill/>
            <a:miter lim="800000"/>
            <a:headEnd/>
            <a:tailEnd/>
          </a:ln>
        </p:spPr>
        <p:txBody>
          <a:bodyPr/>
          <a:lstStyle/>
          <a:p>
            <a:endParaRPr lang="en-US"/>
          </a:p>
        </p:txBody>
      </p:sp>
      <p:sp>
        <p:nvSpPr>
          <p:cNvPr id="42001" name="Rectangle 226"/>
          <p:cNvSpPr>
            <a:spLocks noChangeArrowheads="1"/>
          </p:cNvSpPr>
          <p:nvPr/>
        </p:nvSpPr>
        <p:spPr bwMode="auto">
          <a:xfrm>
            <a:off x="6753225" y="2724150"/>
            <a:ext cx="206375" cy="171450"/>
          </a:xfrm>
          <a:prstGeom prst="rect">
            <a:avLst/>
          </a:prstGeom>
          <a:noFill/>
          <a:ln w="9525">
            <a:noFill/>
            <a:miter lim="800000"/>
            <a:headEnd/>
            <a:tailEnd/>
          </a:ln>
        </p:spPr>
        <p:txBody>
          <a:bodyPr wrap="none" lIns="0" tIns="0" rIns="0" bIns="0">
            <a:spAutoFit/>
          </a:bodyPr>
          <a:lstStyle/>
          <a:p>
            <a:r>
              <a:rPr lang="en-US" sz="1000">
                <a:solidFill>
                  <a:srgbClr val="000000"/>
                </a:solidFill>
              </a:rPr>
              <a:t>LT</a:t>
            </a:r>
            <a:endParaRPr lang="en-US"/>
          </a:p>
        </p:txBody>
      </p:sp>
      <p:sp>
        <p:nvSpPr>
          <p:cNvPr id="42002" name="Freeform 227"/>
          <p:cNvSpPr>
            <a:spLocks noEditPoints="1"/>
          </p:cNvSpPr>
          <p:nvPr/>
        </p:nvSpPr>
        <p:spPr bwMode="auto">
          <a:xfrm>
            <a:off x="5737225" y="2025650"/>
            <a:ext cx="268288" cy="111125"/>
          </a:xfrm>
          <a:custGeom>
            <a:avLst/>
            <a:gdLst>
              <a:gd name="T0" fmla="*/ 2147483647 w 169"/>
              <a:gd name="T1" fmla="*/ 2147483647 h 70"/>
              <a:gd name="T2" fmla="*/ 2147483647 w 169"/>
              <a:gd name="T3" fmla="*/ 2147483647 h 70"/>
              <a:gd name="T4" fmla="*/ 2147483647 w 169"/>
              <a:gd name="T5" fmla="*/ 2147483647 h 70"/>
              <a:gd name="T6" fmla="*/ 2147483647 w 169"/>
              <a:gd name="T7" fmla="*/ 2147483647 h 70"/>
              <a:gd name="T8" fmla="*/ 2147483647 w 169"/>
              <a:gd name="T9" fmla="*/ 2147483647 h 70"/>
              <a:gd name="T10" fmla="*/ 2147483647 w 169"/>
              <a:gd name="T11" fmla="*/ 2147483647 h 70"/>
              <a:gd name="T12" fmla="*/ 2147483647 w 169"/>
              <a:gd name="T13" fmla="*/ 2147483647 h 70"/>
              <a:gd name="T14" fmla="*/ 2147483647 w 169"/>
              <a:gd name="T15" fmla="*/ 2147483647 h 70"/>
              <a:gd name="T16" fmla="*/ 2147483647 w 169"/>
              <a:gd name="T17" fmla="*/ 2147483647 h 70"/>
              <a:gd name="T18" fmla="*/ 2147483647 w 169"/>
              <a:gd name="T19" fmla="*/ 2147483647 h 70"/>
              <a:gd name="T20" fmla="*/ 2147483647 w 169"/>
              <a:gd name="T21" fmla="*/ 2147483647 h 70"/>
              <a:gd name="T22" fmla="*/ 2147483647 w 169"/>
              <a:gd name="T23" fmla="*/ 2147483647 h 70"/>
              <a:gd name="T24" fmla="*/ 0 w 169"/>
              <a:gd name="T25" fmla="*/ 2147483647 h 70"/>
              <a:gd name="T26" fmla="*/ 2147483647 w 169"/>
              <a:gd name="T27" fmla="*/ 0 h 70"/>
              <a:gd name="T28" fmla="*/ 2147483647 w 169"/>
              <a:gd name="T29" fmla="*/ 2147483647 h 7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9"/>
              <a:gd name="T46" fmla="*/ 0 h 70"/>
              <a:gd name="T47" fmla="*/ 169 w 169"/>
              <a:gd name="T48" fmla="*/ 70 h 7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9" h="70">
                <a:moveTo>
                  <a:pt x="124" y="48"/>
                </a:moveTo>
                <a:lnTo>
                  <a:pt x="45" y="45"/>
                </a:lnTo>
                <a:lnTo>
                  <a:pt x="46" y="22"/>
                </a:lnTo>
                <a:lnTo>
                  <a:pt x="125" y="25"/>
                </a:lnTo>
                <a:lnTo>
                  <a:pt x="124" y="48"/>
                </a:lnTo>
                <a:close/>
                <a:moveTo>
                  <a:pt x="124" y="37"/>
                </a:moveTo>
                <a:lnTo>
                  <a:pt x="103" y="2"/>
                </a:lnTo>
                <a:lnTo>
                  <a:pt x="169" y="39"/>
                </a:lnTo>
                <a:lnTo>
                  <a:pt x="100" y="70"/>
                </a:lnTo>
                <a:lnTo>
                  <a:pt x="124" y="37"/>
                </a:lnTo>
                <a:close/>
                <a:moveTo>
                  <a:pt x="45" y="33"/>
                </a:moveTo>
                <a:lnTo>
                  <a:pt x="66" y="68"/>
                </a:lnTo>
                <a:lnTo>
                  <a:pt x="0" y="31"/>
                </a:lnTo>
                <a:lnTo>
                  <a:pt x="69" y="0"/>
                </a:lnTo>
                <a:lnTo>
                  <a:pt x="45" y="33"/>
                </a:lnTo>
                <a:close/>
              </a:path>
            </a:pathLst>
          </a:custGeom>
          <a:solidFill>
            <a:srgbClr val="FF0000"/>
          </a:solidFill>
          <a:ln w="0">
            <a:solidFill>
              <a:srgbClr val="FF0000"/>
            </a:solidFill>
            <a:round/>
            <a:headEnd/>
            <a:tailEnd/>
          </a:ln>
        </p:spPr>
        <p:txBody>
          <a:bodyPr/>
          <a:lstStyle/>
          <a:p>
            <a:endParaRPr lang="en-US"/>
          </a:p>
        </p:txBody>
      </p:sp>
      <p:sp>
        <p:nvSpPr>
          <p:cNvPr id="42003" name="Freeform 228"/>
          <p:cNvSpPr>
            <a:spLocks noEditPoints="1"/>
          </p:cNvSpPr>
          <p:nvPr/>
        </p:nvSpPr>
        <p:spPr bwMode="auto">
          <a:xfrm>
            <a:off x="6594475" y="2532063"/>
            <a:ext cx="149225" cy="131762"/>
          </a:xfrm>
          <a:custGeom>
            <a:avLst/>
            <a:gdLst>
              <a:gd name="T0" fmla="*/ 2147483647 w 94"/>
              <a:gd name="T1" fmla="*/ 2147483647 h 83"/>
              <a:gd name="T2" fmla="*/ 2147483647 w 94"/>
              <a:gd name="T3" fmla="*/ 2147483647 h 83"/>
              <a:gd name="T4" fmla="*/ 2147483647 w 94"/>
              <a:gd name="T5" fmla="*/ 2147483647 h 83"/>
              <a:gd name="T6" fmla="*/ 2147483647 w 94"/>
              <a:gd name="T7" fmla="*/ 2147483647 h 83"/>
              <a:gd name="T8" fmla="*/ 2147483647 w 94"/>
              <a:gd name="T9" fmla="*/ 2147483647 h 83"/>
              <a:gd name="T10" fmla="*/ 2147483647 w 94"/>
              <a:gd name="T11" fmla="*/ 2147483647 h 83"/>
              <a:gd name="T12" fmla="*/ 2147483647 w 94"/>
              <a:gd name="T13" fmla="*/ 2147483647 h 83"/>
              <a:gd name="T14" fmla="*/ 2147483647 w 94"/>
              <a:gd name="T15" fmla="*/ 2147483647 h 83"/>
              <a:gd name="T16" fmla="*/ 2147483647 w 94"/>
              <a:gd name="T17" fmla="*/ 2147483647 h 83"/>
              <a:gd name="T18" fmla="*/ 2147483647 w 94"/>
              <a:gd name="T19" fmla="*/ 2147483647 h 83"/>
              <a:gd name="T20" fmla="*/ 2147483647 w 94"/>
              <a:gd name="T21" fmla="*/ 2147483647 h 83"/>
              <a:gd name="T22" fmla="*/ 2147483647 w 94"/>
              <a:gd name="T23" fmla="*/ 2147483647 h 83"/>
              <a:gd name="T24" fmla="*/ 0 w 94"/>
              <a:gd name="T25" fmla="*/ 0 h 83"/>
              <a:gd name="T26" fmla="*/ 2147483647 w 94"/>
              <a:gd name="T27" fmla="*/ 2147483647 h 83"/>
              <a:gd name="T28" fmla="*/ 2147483647 w 94"/>
              <a:gd name="T29" fmla="*/ 2147483647 h 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4"/>
              <a:gd name="T46" fmla="*/ 0 h 83"/>
              <a:gd name="T47" fmla="*/ 94 w 94"/>
              <a:gd name="T48" fmla="*/ 83 h 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4" h="83">
                <a:moveTo>
                  <a:pt x="52" y="61"/>
                </a:moveTo>
                <a:lnTo>
                  <a:pt x="27" y="38"/>
                </a:lnTo>
                <a:lnTo>
                  <a:pt x="42" y="22"/>
                </a:lnTo>
                <a:lnTo>
                  <a:pt x="67" y="44"/>
                </a:lnTo>
                <a:lnTo>
                  <a:pt x="52" y="61"/>
                </a:lnTo>
                <a:close/>
                <a:moveTo>
                  <a:pt x="60" y="53"/>
                </a:moveTo>
                <a:lnTo>
                  <a:pt x="65" y="13"/>
                </a:lnTo>
                <a:lnTo>
                  <a:pt x="94" y="83"/>
                </a:lnTo>
                <a:lnTo>
                  <a:pt x="21" y="63"/>
                </a:lnTo>
                <a:lnTo>
                  <a:pt x="60" y="53"/>
                </a:lnTo>
                <a:close/>
                <a:moveTo>
                  <a:pt x="34" y="30"/>
                </a:moveTo>
                <a:lnTo>
                  <a:pt x="29" y="70"/>
                </a:lnTo>
                <a:lnTo>
                  <a:pt x="0" y="0"/>
                </a:lnTo>
                <a:lnTo>
                  <a:pt x="74" y="20"/>
                </a:lnTo>
                <a:lnTo>
                  <a:pt x="34" y="30"/>
                </a:lnTo>
                <a:close/>
              </a:path>
            </a:pathLst>
          </a:custGeom>
          <a:solidFill>
            <a:srgbClr val="FFFF00"/>
          </a:solidFill>
          <a:ln w="0">
            <a:solidFill>
              <a:srgbClr val="FFFF00"/>
            </a:solidFill>
            <a:round/>
            <a:headEnd/>
            <a:tailEnd/>
          </a:ln>
        </p:spPr>
        <p:txBody>
          <a:bodyPr/>
          <a:lstStyle/>
          <a:p>
            <a:endParaRPr lang="en-US"/>
          </a:p>
        </p:txBody>
      </p:sp>
      <p:sp>
        <p:nvSpPr>
          <p:cNvPr id="42004" name="Freeform 229"/>
          <p:cNvSpPr>
            <a:spLocks noEditPoints="1"/>
          </p:cNvSpPr>
          <p:nvPr/>
        </p:nvSpPr>
        <p:spPr bwMode="auto">
          <a:xfrm>
            <a:off x="6273800" y="2182813"/>
            <a:ext cx="130175" cy="131762"/>
          </a:xfrm>
          <a:custGeom>
            <a:avLst/>
            <a:gdLst>
              <a:gd name="T0" fmla="*/ 2147483647 w 82"/>
              <a:gd name="T1" fmla="*/ 2147483647 h 83"/>
              <a:gd name="T2" fmla="*/ 2147483647 w 82"/>
              <a:gd name="T3" fmla="*/ 2147483647 h 83"/>
              <a:gd name="T4" fmla="*/ 2147483647 w 82"/>
              <a:gd name="T5" fmla="*/ 2147483647 h 83"/>
              <a:gd name="T6" fmla="*/ 2147483647 w 82"/>
              <a:gd name="T7" fmla="*/ 2147483647 h 83"/>
              <a:gd name="T8" fmla="*/ 2147483647 w 82"/>
              <a:gd name="T9" fmla="*/ 2147483647 h 83"/>
              <a:gd name="T10" fmla="*/ 2147483647 w 82"/>
              <a:gd name="T11" fmla="*/ 2147483647 h 83"/>
              <a:gd name="T12" fmla="*/ 2147483647 w 82"/>
              <a:gd name="T13" fmla="*/ 2147483647 h 83"/>
              <a:gd name="T14" fmla="*/ 0 w 82"/>
              <a:gd name="T15" fmla="*/ 0 h 83"/>
              <a:gd name="T16" fmla="*/ 2147483647 w 82"/>
              <a:gd name="T17" fmla="*/ 2147483647 h 83"/>
              <a:gd name="T18" fmla="*/ 2147483647 w 82"/>
              <a:gd name="T19" fmla="*/ 2147483647 h 83"/>
              <a:gd name="T20" fmla="*/ 2147483647 w 82"/>
              <a:gd name="T21" fmla="*/ 2147483647 h 83"/>
              <a:gd name="T22" fmla="*/ 2147483647 w 82"/>
              <a:gd name="T23" fmla="*/ 2147483647 h 83"/>
              <a:gd name="T24" fmla="*/ 2147483647 w 82"/>
              <a:gd name="T25" fmla="*/ 2147483647 h 83"/>
              <a:gd name="T26" fmla="*/ 2147483647 w 82"/>
              <a:gd name="T27" fmla="*/ 2147483647 h 83"/>
              <a:gd name="T28" fmla="*/ 2147483647 w 82"/>
              <a:gd name="T29" fmla="*/ 2147483647 h 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2"/>
              <a:gd name="T46" fmla="*/ 0 h 83"/>
              <a:gd name="T47" fmla="*/ 82 w 82"/>
              <a:gd name="T48" fmla="*/ 83 h 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2" h="83">
                <a:moveTo>
                  <a:pt x="39" y="24"/>
                </a:moveTo>
                <a:lnTo>
                  <a:pt x="58" y="43"/>
                </a:lnTo>
                <a:lnTo>
                  <a:pt x="42" y="59"/>
                </a:lnTo>
                <a:lnTo>
                  <a:pt x="23" y="40"/>
                </a:lnTo>
                <a:lnTo>
                  <a:pt x="39" y="24"/>
                </a:lnTo>
                <a:close/>
                <a:moveTo>
                  <a:pt x="31" y="32"/>
                </a:moveTo>
                <a:lnTo>
                  <a:pt x="23" y="72"/>
                </a:lnTo>
                <a:lnTo>
                  <a:pt x="0" y="0"/>
                </a:lnTo>
                <a:lnTo>
                  <a:pt x="71" y="24"/>
                </a:lnTo>
                <a:lnTo>
                  <a:pt x="31" y="32"/>
                </a:lnTo>
                <a:close/>
                <a:moveTo>
                  <a:pt x="50" y="51"/>
                </a:moveTo>
                <a:lnTo>
                  <a:pt x="58" y="11"/>
                </a:lnTo>
                <a:lnTo>
                  <a:pt x="82" y="83"/>
                </a:lnTo>
                <a:lnTo>
                  <a:pt x="10" y="58"/>
                </a:lnTo>
                <a:lnTo>
                  <a:pt x="50" y="51"/>
                </a:lnTo>
                <a:close/>
              </a:path>
            </a:pathLst>
          </a:custGeom>
          <a:solidFill>
            <a:srgbClr val="00B0F0"/>
          </a:solidFill>
          <a:ln w="0">
            <a:solidFill>
              <a:srgbClr val="00B0F0"/>
            </a:solidFill>
            <a:round/>
            <a:headEnd/>
            <a:tailEnd/>
          </a:ln>
        </p:spPr>
        <p:txBody>
          <a:bodyPr/>
          <a:lstStyle/>
          <a:p>
            <a:endParaRPr lang="en-US"/>
          </a:p>
        </p:txBody>
      </p:sp>
      <p:sp>
        <p:nvSpPr>
          <p:cNvPr id="42005" name="Freeform 230"/>
          <p:cNvSpPr>
            <a:spLocks noEditPoints="1"/>
          </p:cNvSpPr>
          <p:nvPr/>
        </p:nvSpPr>
        <p:spPr bwMode="auto">
          <a:xfrm>
            <a:off x="4500563" y="2689225"/>
            <a:ext cx="695325" cy="538163"/>
          </a:xfrm>
          <a:custGeom>
            <a:avLst/>
            <a:gdLst>
              <a:gd name="T0" fmla="*/ 2147483647 w 438"/>
              <a:gd name="T1" fmla="*/ 2147483647 h 339"/>
              <a:gd name="T2" fmla="*/ 2147483647 w 438"/>
              <a:gd name="T3" fmla="*/ 2147483647 h 339"/>
              <a:gd name="T4" fmla="*/ 2147483647 w 438"/>
              <a:gd name="T5" fmla="*/ 2147483647 h 339"/>
              <a:gd name="T6" fmla="*/ 2147483647 w 438"/>
              <a:gd name="T7" fmla="*/ 2147483647 h 339"/>
              <a:gd name="T8" fmla="*/ 2147483647 w 438"/>
              <a:gd name="T9" fmla="*/ 2147483647 h 339"/>
              <a:gd name="T10" fmla="*/ 2147483647 w 438"/>
              <a:gd name="T11" fmla="*/ 2147483647 h 339"/>
              <a:gd name="T12" fmla="*/ 2147483647 w 438"/>
              <a:gd name="T13" fmla="*/ 2147483647 h 339"/>
              <a:gd name="T14" fmla="*/ 2147483647 w 438"/>
              <a:gd name="T15" fmla="*/ 0 h 339"/>
              <a:gd name="T16" fmla="*/ 2147483647 w 438"/>
              <a:gd name="T17" fmla="*/ 2147483647 h 339"/>
              <a:gd name="T18" fmla="*/ 2147483647 w 438"/>
              <a:gd name="T19" fmla="*/ 2147483647 h 339"/>
              <a:gd name="T20" fmla="*/ 2147483647 w 438"/>
              <a:gd name="T21" fmla="*/ 2147483647 h 339"/>
              <a:gd name="T22" fmla="*/ 2147483647 w 438"/>
              <a:gd name="T23" fmla="*/ 2147483647 h 339"/>
              <a:gd name="T24" fmla="*/ 0 w 438"/>
              <a:gd name="T25" fmla="*/ 2147483647 h 339"/>
              <a:gd name="T26" fmla="*/ 2147483647 w 438"/>
              <a:gd name="T27" fmla="*/ 2147483647 h 339"/>
              <a:gd name="T28" fmla="*/ 2147483647 w 438"/>
              <a:gd name="T29" fmla="*/ 2147483647 h 33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38"/>
              <a:gd name="T46" fmla="*/ 0 h 339"/>
              <a:gd name="T47" fmla="*/ 438 w 438"/>
              <a:gd name="T48" fmla="*/ 339 h 33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38" h="339">
                <a:moveTo>
                  <a:pt x="409" y="37"/>
                </a:moveTo>
                <a:lnTo>
                  <a:pt x="43" y="321"/>
                </a:lnTo>
                <a:lnTo>
                  <a:pt x="29" y="303"/>
                </a:lnTo>
                <a:lnTo>
                  <a:pt x="395" y="19"/>
                </a:lnTo>
                <a:lnTo>
                  <a:pt x="409" y="37"/>
                </a:lnTo>
                <a:close/>
                <a:moveTo>
                  <a:pt x="402" y="28"/>
                </a:moveTo>
                <a:lnTo>
                  <a:pt x="364" y="15"/>
                </a:lnTo>
                <a:lnTo>
                  <a:pt x="438" y="0"/>
                </a:lnTo>
                <a:lnTo>
                  <a:pt x="405" y="68"/>
                </a:lnTo>
                <a:lnTo>
                  <a:pt x="402" y="28"/>
                </a:lnTo>
                <a:close/>
                <a:moveTo>
                  <a:pt x="36" y="312"/>
                </a:moveTo>
                <a:lnTo>
                  <a:pt x="75" y="325"/>
                </a:lnTo>
                <a:lnTo>
                  <a:pt x="0" y="339"/>
                </a:lnTo>
                <a:lnTo>
                  <a:pt x="33" y="271"/>
                </a:lnTo>
                <a:lnTo>
                  <a:pt x="36" y="312"/>
                </a:lnTo>
                <a:close/>
              </a:path>
            </a:pathLst>
          </a:custGeom>
          <a:solidFill>
            <a:srgbClr val="FFFF00"/>
          </a:solidFill>
          <a:ln w="0">
            <a:solidFill>
              <a:srgbClr val="FFFF00"/>
            </a:solidFill>
            <a:round/>
            <a:headEnd/>
            <a:tailEnd/>
          </a:ln>
        </p:spPr>
        <p:txBody>
          <a:bodyPr/>
          <a:lstStyle/>
          <a:p>
            <a:endParaRPr lang="en-US"/>
          </a:p>
        </p:txBody>
      </p:sp>
      <p:sp>
        <p:nvSpPr>
          <p:cNvPr id="42006" name="Rectangle 231"/>
          <p:cNvSpPr>
            <a:spLocks noChangeArrowheads="1"/>
          </p:cNvSpPr>
          <p:nvPr/>
        </p:nvSpPr>
        <p:spPr bwMode="auto">
          <a:xfrm>
            <a:off x="4079875" y="3182938"/>
            <a:ext cx="150813" cy="171450"/>
          </a:xfrm>
          <a:prstGeom prst="rect">
            <a:avLst/>
          </a:prstGeom>
          <a:noFill/>
          <a:ln w="9525">
            <a:noFill/>
            <a:miter lim="800000"/>
            <a:headEnd/>
            <a:tailEnd/>
          </a:ln>
        </p:spPr>
        <p:txBody>
          <a:bodyPr wrap="none" lIns="0" tIns="0" rIns="0" bIns="0">
            <a:spAutoFit/>
          </a:bodyPr>
          <a:lstStyle/>
          <a:p>
            <a:r>
              <a:rPr lang="en-US" sz="1000">
                <a:solidFill>
                  <a:srgbClr val="000000"/>
                </a:solidFill>
              </a:rPr>
              <a:t>D</a:t>
            </a:r>
            <a:endParaRPr lang="en-US"/>
          </a:p>
        </p:txBody>
      </p:sp>
      <p:sp>
        <p:nvSpPr>
          <p:cNvPr id="42007" name="Rectangle 232"/>
          <p:cNvSpPr>
            <a:spLocks noChangeArrowheads="1"/>
          </p:cNvSpPr>
          <p:nvPr/>
        </p:nvSpPr>
        <p:spPr bwMode="auto">
          <a:xfrm>
            <a:off x="4079875" y="3325813"/>
            <a:ext cx="107950" cy="120650"/>
          </a:xfrm>
          <a:prstGeom prst="rect">
            <a:avLst/>
          </a:prstGeom>
          <a:noFill/>
          <a:ln w="9525">
            <a:noFill/>
            <a:miter lim="800000"/>
            <a:headEnd/>
            <a:tailEnd/>
          </a:ln>
        </p:spPr>
        <p:txBody>
          <a:bodyPr wrap="none" lIns="0" tIns="0" rIns="0" bIns="0">
            <a:spAutoFit/>
          </a:bodyPr>
          <a:lstStyle/>
          <a:p>
            <a:r>
              <a:rPr lang="en-US" sz="600">
                <a:solidFill>
                  <a:srgbClr val="000000"/>
                </a:solidFill>
              </a:rPr>
              <a:t>2 </a:t>
            </a:r>
            <a:endParaRPr lang="en-US"/>
          </a:p>
        </p:txBody>
      </p:sp>
      <p:sp>
        <p:nvSpPr>
          <p:cNvPr id="42008" name="Rectangle 233"/>
          <p:cNvSpPr>
            <a:spLocks noChangeArrowheads="1"/>
          </p:cNvSpPr>
          <p:nvPr/>
        </p:nvSpPr>
        <p:spPr bwMode="auto">
          <a:xfrm>
            <a:off x="4137025" y="3325813"/>
            <a:ext cx="193675" cy="120650"/>
          </a:xfrm>
          <a:prstGeom prst="rect">
            <a:avLst/>
          </a:prstGeom>
          <a:noFill/>
          <a:ln w="9525">
            <a:noFill/>
            <a:miter lim="800000"/>
            <a:headEnd/>
            <a:tailEnd/>
          </a:ln>
        </p:spPr>
        <p:txBody>
          <a:bodyPr wrap="none" lIns="0" tIns="0" rIns="0" bIns="0">
            <a:spAutoFit/>
          </a:bodyPr>
          <a:lstStyle/>
          <a:p>
            <a:r>
              <a:rPr lang="en-US" sz="600">
                <a:solidFill>
                  <a:srgbClr val="000000"/>
                </a:solidFill>
              </a:rPr>
              <a:t>PXs</a:t>
            </a:r>
            <a:endParaRPr lang="en-US"/>
          </a:p>
        </p:txBody>
      </p:sp>
      <p:sp>
        <p:nvSpPr>
          <p:cNvPr id="42009" name="Rectangle 234"/>
          <p:cNvSpPr>
            <a:spLocks noChangeArrowheads="1"/>
          </p:cNvSpPr>
          <p:nvPr/>
        </p:nvSpPr>
        <p:spPr bwMode="auto">
          <a:xfrm>
            <a:off x="5502275" y="1997075"/>
            <a:ext cx="171450" cy="171450"/>
          </a:xfrm>
          <a:prstGeom prst="rect">
            <a:avLst/>
          </a:prstGeom>
          <a:noFill/>
          <a:ln w="9525">
            <a:noFill/>
            <a:miter lim="800000"/>
            <a:headEnd/>
            <a:tailEnd/>
          </a:ln>
        </p:spPr>
        <p:txBody>
          <a:bodyPr wrap="none" lIns="0" tIns="0" rIns="0" bIns="0">
            <a:spAutoFit/>
          </a:bodyPr>
          <a:lstStyle/>
          <a:p>
            <a:r>
              <a:rPr lang="en-US" sz="1000">
                <a:solidFill>
                  <a:srgbClr val="000000"/>
                </a:solidFill>
              </a:rPr>
              <a:t>FI</a:t>
            </a:r>
            <a:endParaRPr lang="en-US"/>
          </a:p>
        </p:txBody>
      </p:sp>
      <p:sp>
        <p:nvSpPr>
          <p:cNvPr id="42010" name="Freeform 235"/>
          <p:cNvSpPr>
            <a:spLocks noEditPoints="1"/>
          </p:cNvSpPr>
          <p:nvPr/>
        </p:nvSpPr>
        <p:spPr bwMode="auto">
          <a:xfrm>
            <a:off x="5033963" y="2006600"/>
            <a:ext cx="349250" cy="96838"/>
          </a:xfrm>
          <a:custGeom>
            <a:avLst/>
            <a:gdLst>
              <a:gd name="T0" fmla="*/ 2147483647 w 220"/>
              <a:gd name="T1" fmla="*/ 2147483647 h 61"/>
              <a:gd name="T2" fmla="*/ 2147483647 w 220"/>
              <a:gd name="T3" fmla="*/ 2147483647 h 61"/>
              <a:gd name="T4" fmla="*/ 2147483647 w 220"/>
              <a:gd name="T5" fmla="*/ 2147483647 h 61"/>
              <a:gd name="T6" fmla="*/ 2147483647 w 220"/>
              <a:gd name="T7" fmla="*/ 2147483647 h 61"/>
              <a:gd name="T8" fmla="*/ 2147483647 w 220"/>
              <a:gd name="T9" fmla="*/ 2147483647 h 61"/>
              <a:gd name="T10" fmla="*/ 2147483647 w 220"/>
              <a:gd name="T11" fmla="*/ 2147483647 h 61"/>
              <a:gd name="T12" fmla="*/ 2147483647 w 220"/>
              <a:gd name="T13" fmla="*/ 2147483647 h 61"/>
              <a:gd name="T14" fmla="*/ 2147483647 w 220"/>
              <a:gd name="T15" fmla="*/ 2147483647 h 61"/>
              <a:gd name="T16" fmla="*/ 2147483647 w 220"/>
              <a:gd name="T17" fmla="*/ 2147483647 h 61"/>
              <a:gd name="T18" fmla="*/ 2147483647 w 220"/>
              <a:gd name="T19" fmla="*/ 2147483647 h 61"/>
              <a:gd name="T20" fmla="*/ 2147483647 w 220"/>
              <a:gd name="T21" fmla="*/ 2147483647 h 61"/>
              <a:gd name="T22" fmla="*/ 2147483647 w 220"/>
              <a:gd name="T23" fmla="*/ 2147483647 h 61"/>
              <a:gd name="T24" fmla="*/ 0 w 220"/>
              <a:gd name="T25" fmla="*/ 2147483647 h 61"/>
              <a:gd name="T26" fmla="*/ 2147483647 w 220"/>
              <a:gd name="T27" fmla="*/ 0 h 61"/>
              <a:gd name="T28" fmla="*/ 2147483647 w 220"/>
              <a:gd name="T29" fmla="*/ 2147483647 h 6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0"/>
              <a:gd name="T46" fmla="*/ 0 h 61"/>
              <a:gd name="T47" fmla="*/ 220 w 220"/>
              <a:gd name="T48" fmla="*/ 61 h 6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0" h="61">
                <a:moveTo>
                  <a:pt x="184" y="44"/>
                </a:moveTo>
                <a:lnTo>
                  <a:pt x="35" y="34"/>
                </a:lnTo>
                <a:lnTo>
                  <a:pt x="36" y="16"/>
                </a:lnTo>
                <a:lnTo>
                  <a:pt x="185" y="26"/>
                </a:lnTo>
                <a:lnTo>
                  <a:pt x="184" y="44"/>
                </a:lnTo>
                <a:close/>
                <a:moveTo>
                  <a:pt x="185" y="35"/>
                </a:moveTo>
                <a:lnTo>
                  <a:pt x="168" y="7"/>
                </a:lnTo>
                <a:lnTo>
                  <a:pt x="220" y="38"/>
                </a:lnTo>
                <a:lnTo>
                  <a:pt x="165" y="61"/>
                </a:lnTo>
                <a:lnTo>
                  <a:pt x="185" y="35"/>
                </a:lnTo>
                <a:close/>
                <a:moveTo>
                  <a:pt x="36" y="25"/>
                </a:moveTo>
                <a:lnTo>
                  <a:pt x="52" y="53"/>
                </a:lnTo>
                <a:lnTo>
                  <a:pt x="0" y="23"/>
                </a:lnTo>
                <a:lnTo>
                  <a:pt x="56" y="0"/>
                </a:lnTo>
                <a:lnTo>
                  <a:pt x="36" y="25"/>
                </a:lnTo>
                <a:close/>
              </a:path>
            </a:pathLst>
          </a:custGeom>
          <a:solidFill>
            <a:srgbClr val="FF0000"/>
          </a:solidFill>
          <a:ln w="0">
            <a:solidFill>
              <a:srgbClr val="FF0000"/>
            </a:solidFill>
            <a:round/>
            <a:headEnd/>
            <a:tailEnd/>
          </a:ln>
        </p:spPr>
        <p:txBody>
          <a:bodyPr/>
          <a:lstStyle/>
          <a:p>
            <a:endParaRPr lang="en-US"/>
          </a:p>
        </p:txBody>
      </p:sp>
      <p:sp>
        <p:nvSpPr>
          <p:cNvPr id="42011" name="Freeform 236"/>
          <p:cNvSpPr>
            <a:spLocks noEditPoints="1"/>
          </p:cNvSpPr>
          <p:nvPr/>
        </p:nvSpPr>
        <p:spPr bwMode="auto">
          <a:xfrm>
            <a:off x="5005388" y="2200275"/>
            <a:ext cx="192087" cy="214313"/>
          </a:xfrm>
          <a:custGeom>
            <a:avLst/>
            <a:gdLst>
              <a:gd name="T0" fmla="*/ 2147483647 w 121"/>
              <a:gd name="T1" fmla="*/ 2147483647 h 135"/>
              <a:gd name="T2" fmla="*/ 2147483647 w 121"/>
              <a:gd name="T3" fmla="*/ 2147483647 h 135"/>
              <a:gd name="T4" fmla="*/ 2147483647 w 121"/>
              <a:gd name="T5" fmla="*/ 2147483647 h 135"/>
              <a:gd name="T6" fmla="*/ 2147483647 w 121"/>
              <a:gd name="T7" fmla="*/ 2147483647 h 135"/>
              <a:gd name="T8" fmla="*/ 2147483647 w 121"/>
              <a:gd name="T9" fmla="*/ 2147483647 h 135"/>
              <a:gd name="T10" fmla="*/ 2147483647 w 121"/>
              <a:gd name="T11" fmla="*/ 2147483647 h 135"/>
              <a:gd name="T12" fmla="*/ 2147483647 w 121"/>
              <a:gd name="T13" fmla="*/ 2147483647 h 135"/>
              <a:gd name="T14" fmla="*/ 2147483647 w 121"/>
              <a:gd name="T15" fmla="*/ 2147483647 h 135"/>
              <a:gd name="T16" fmla="*/ 2147483647 w 121"/>
              <a:gd name="T17" fmla="*/ 2147483647 h 135"/>
              <a:gd name="T18" fmla="*/ 2147483647 w 121"/>
              <a:gd name="T19" fmla="*/ 2147483647 h 135"/>
              <a:gd name="T20" fmla="*/ 2147483647 w 121"/>
              <a:gd name="T21" fmla="*/ 2147483647 h 135"/>
              <a:gd name="T22" fmla="*/ 2147483647 w 121"/>
              <a:gd name="T23" fmla="*/ 2147483647 h 135"/>
              <a:gd name="T24" fmla="*/ 0 w 121"/>
              <a:gd name="T25" fmla="*/ 0 h 135"/>
              <a:gd name="T26" fmla="*/ 2147483647 w 121"/>
              <a:gd name="T27" fmla="*/ 2147483647 h 135"/>
              <a:gd name="T28" fmla="*/ 2147483647 w 121"/>
              <a:gd name="T29" fmla="*/ 2147483647 h 13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1"/>
              <a:gd name="T46" fmla="*/ 0 h 135"/>
              <a:gd name="T47" fmla="*/ 121 w 121"/>
              <a:gd name="T48" fmla="*/ 135 h 13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1" h="135">
                <a:moveTo>
                  <a:pt x="90" y="114"/>
                </a:moveTo>
                <a:lnTo>
                  <a:pt x="17" y="33"/>
                </a:lnTo>
                <a:lnTo>
                  <a:pt x="31" y="21"/>
                </a:lnTo>
                <a:lnTo>
                  <a:pt x="103" y="102"/>
                </a:lnTo>
                <a:lnTo>
                  <a:pt x="90" y="114"/>
                </a:lnTo>
                <a:close/>
                <a:moveTo>
                  <a:pt x="97" y="108"/>
                </a:moveTo>
                <a:lnTo>
                  <a:pt x="105" y="76"/>
                </a:lnTo>
                <a:lnTo>
                  <a:pt x="121" y="135"/>
                </a:lnTo>
                <a:lnTo>
                  <a:pt x="64" y="112"/>
                </a:lnTo>
                <a:lnTo>
                  <a:pt x="97" y="108"/>
                </a:lnTo>
                <a:close/>
                <a:moveTo>
                  <a:pt x="24" y="27"/>
                </a:moveTo>
                <a:lnTo>
                  <a:pt x="16" y="58"/>
                </a:lnTo>
                <a:lnTo>
                  <a:pt x="0" y="0"/>
                </a:lnTo>
                <a:lnTo>
                  <a:pt x="56" y="22"/>
                </a:lnTo>
                <a:lnTo>
                  <a:pt x="24" y="27"/>
                </a:lnTo>
                <a:close/>
              </a:path>
            </a:pathLst>
          </a:custGeom>
          <a:solidFill>
            <a:srgbClr val="FF0000"/>
          </a:solidFill>
          <a:ln w="0">
            <a:solidFill>
              <a:srgbClr val="FF0000"/>
            </a:solidFill>
            <a:round/>
            <a:headEnd/>
            <a:tailEnd/>
          </a:ln>
        </p:spPr>
        <p:txBody>
          <a:bodyPr/>
          <a:lstStyle/>
          <a:p>
            <a:endParaRPr lang="en-US"/>
          </a:p>
        </p:txBody>
      </p:sp>
      <p:sp>
        <p:nvSpPr>
          <p:cNvPr id="42012" name="Freeform 237"/>
          <p:cNvSpPr>
            <a:spLocks noEditPoints="1"/>
          </p:cNvSpPr>
          <p:nvPr/>
        </p:nvSpPr>
        <p:spPr bwMode="auto">
          <a:xfrm>
            <a:off x="5343525" y="2200275"/>
            <a:ext cx="103188" cy="220663"/>
          </a:xfrm>
          <a:custGeom>
            <a:avLst/>
            <a:gdLst>
              <a:gd name="T0" fmla="*/ 2147483647 w 65"/>
              <a:gd name="T1" fmla="*/ 2147483647 h 139"/>
              <a:gd name="T2" fmla="*/ 2147483647 w 65"/>
              <a:gd name="T3" fmla="*/ 2147483647 h 139"/>
              <a:gd name="T4" fmla="*/ 2147483647 w 65"/>
              <a:gd name="T5" fmla="*/ 2147483647 h 139"/>
              <a:gd name="T6" fmla="*/ 2147483647 w 65"/>
              <a:gd name="T7" fmla="*/ 2147483647 h 139"/>
              <a:gd name="T8" fmla="*/ 2147483647 w 65"/>
              <a:gd name="T9" fmla="*/ 2147483647 h 139"/>
              <a:gd name="T10" fmla="*/ 2147483647 w 65"/>
              <a:gd name="T11" fmla="*/ 2147483647 h 139"/>
              <a:gd name="T12" fmla="*/ 2147483647 w 65"/>
              <a:gd name="T13" fmla="*/ 2147483647 h 139"/>
              <a:gd name="T14" fmla="*/ 2147483647 w 65"/>
              <a:gd name="T15" fmla="*/ 0 h 139"/>
              <a:gd name="T16" fmla="*/ 2147483647 w 65"/>
              <a:gd name="T17" fmla="*/ 2147483647 h 139"/>
              <a:gd name="T18" fmla="*/ 2147483647 w 65"/>
              <a:gd name="T19" fmla="*/ 2147483647 h 139"/>
              <a:gd name="T20" fmla="*/ 2147483647 w 65"/>
              <a:gd name="T21" fmla="*/ 2147483647 h 139"/>
              <a:gd name="T22" fmla="*/ 2147483647 w 65"/>
              <a:gd name="T23" fmla="*/ 2147483647 h 139"/>
              <a:gd name="T24" fmla="*/ 2147483647 w 65"/>
              <a:gd name="T25" fmla="*/ 2147483647 h 139"/>
              <a:gd name="T26" fmla="*/ 0 w 65"/>
              <a:gd name="T27" fmla="*/ 2147483647 h 139"/>
              <a:gd name="T28" fmla="*/ 2147483647 w 65"/>
              <a:gd name="T29" fmla="*/ 2147483647 h 13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5"/>
              <a:gd name="T46" fmla="*/ 0 h 139"/>
              <a:gd name="T47" fmla="*/ 65 w 65"/>
              <a:gd name="T48" fmla="*/ 139 h 13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5" h="139">
                <a:moveTo>
                  <a:pt x="54" y="37"/>
                </a:moveTo>
                <a:lnTo>
                  <a:pt x="28" y="108"/>
                </a:lnTo>
                <a:lnTo>
                  <a:pt x="11" y="102"/>
                </a:lnTo>
                <a:lnTo>
                  <a:pt x="37" y="31"/>
                </a:lnTo>
                <a:lnTo>
                  <a:pt x="54" y="37"/>
                </a:lnTo>
                <a:close/>
                <a:moveTo>
                  <a:pt x="45" y="34"/>
                </a:moveTo>
                <a:lnTo>
                  <a:pt x="14" y="42"/>
                </a:lnTo>
                <a:lnTo>
                  <a:pt x="57" y="0"/>
                </a:lnTo>
                <a:lnTo>
                  <a:pt x="65" y="60"/>
                </a:lnTo>
                <a:lnTo>
                  <a:pt x="45" y="34"/>
                </a:lnTo>
                <a:close/>
                <a:moveTo>
                  <a:pt x="20" y="105"/>
                </a:moveTo>
                <a:lnTo>
                  <a:pt x="51" y="97"/>
                </a:lnTo>
                <a:lnTo>
                  <a:pt x="7" y="139"/>
                </a:lnTo>
                <a:lnTo>
                  <a:pt x="0" y="79"/>
                </a:lnTo>
                <a:lnTo>
                  <a:pt x="20" y="105"/>
                </a:lnTo>
                <a:close/>
              </a:path>
            </a:pathLst>
          </a:custGeom>
          <a:solidFill>
            <a:srgbClr val="FF0000"/>
          </a:solidFill>
          <a:ln w="0">
            <a:solidFill>
              <a:srgbClr val="FF0000"/>
            </a:solidFill>
            <a:round/>
            <a:headEnd/>
            <a:tailEnd/>
          </a:ln>
        </p:spPr>
        <p:txBody>
          <a:bodyPr/>
          <a:lstStyle/>
          <a:p>
            <a:endParaRPr lang="en-US"/>
          </a:p>
        </p:txBody>
      </p:sp>
      <p:sp>
        <p:nvSpPr>
          <p:cNvPr id="42013" name="Freeform 238"/>
          <p:cNvSpPr>
            <a:spLocks noEditPoints="1"/>
          </p:cNvSpPr>
          <p:nvPr/>
        </p:nvSpPr>
        <p:spPr bwMode="auto">
          <a:xfrm>
            <a:off x="4340225" y="2071688"/>
            <a:ext cx="374650" cy="296862"/>
          </a:xfrm>
          <a:custGeom>
            <a:avLst/>
            <a:gdLst>
              <a:gd name="T0" fmla="*/ 2147483647 w 236"/>
              <a:gd name="T1" fmla="*/ 2147483647 h 187"/>
              <a:gd name="T2" fmla="*/ 2147483647 w 236"/>
              <a:gd name="T3" fmla="*/ 2147483647 h 187"/>
              <a:gd name="T4" fmla="*/ 2147483647 w 236"/>
              <a:gd name="T5" fmla="*/ 2147483647 h 187"/>
              <a:gd name="T6" fmla="*/ 2147483647 w 236"/>
              <a:gd name="T7" fmla="*/ 2147483647 h 187"/>
              <a:gd name="T8" fmla="*/ 2147483647 w 236"/>
              <a:gd name="T9" fmla="*/ 2147483647 h 187"/>
              <a:gd name="T10" fmla="*/ 2147483647 w 236"/>
              <a:gd name="T11" fmla="*/ 2147483647 h 187"/>
              <a:gd name="T12" fmla="*/ 2147483647 w 236"/>
              <a:gd name="T13" fmla="*/ 2147483647 h 187"/>
              <a:gd name="T14" fmla="*/ 2147483647 w 236"/>
              <a:gd name="T15" fmla="*/ 0 h 187"/>
              <a:gd name="T16" fmla="*/ 2147483647 w 236"/>
              <a:gd name="T17" fmla="*/ 2147483647 h 187"/>
              <a:gd name="T18" fmla="*/ 2147483647 w 236"/>
              <a:gd name="T19" fmla="*/ 2147483647 h 187"/>
              <a:gd name="T20" fmla="*/ 2147483647 w 236"/>
              <a:gd name="T21" fmla="*/ 2147483647 h 187"/>
              <a:gd name="T22" fmla="*/ 2147483647 w 236"/>
              <a:gd name="T23" fmla="*/ 2147483647 h 187"/>
              <a:gd name="T24" fmla="*/ 0 w 236"/>
              <a:gd name="T25" fmla="*/ 2147483647 h 187"/>
              <a:gd name="T26" fmla="*/ 2147483647 w 236"/>
              <a:gd name="T27" fmla="*/ 2147483647 h 187"/>
              <a:gd name="T28" fmla="*/ 2147483647 w 236"/>
              <a:gd name="T29" fmla="*/ 2147483647 h 18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6"/>
              <a:gd name="T46" fmla="*/ 0 h 187"/>
              <a:gd name="T47" fmla="*/ 236 w 236"/>
              <a:gd name="T48" fmla="*/ 187 h 18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6" h="187">
                <a:moveTo>
                  <a:pt x="214" y="29"/>
                </a:moveTo>
                <a:lnTo>
                  <a:pt x="34" y="172"/>
                </a:lnTo>
                <a:lnTo>
                  <a:pt x="23" y="158"/>
                </a:lnTo>
                <a:lnTo>
                  <a:pt x="203" y="15"/>
                </a:lnTo>
                <a:lnTo>
                  <a:pt x="214" y="29"/>
                </a:lnTo>
                <a:close/>
                <a:moveTo>
                  <a:pt x="208" y="22"/>
                </a:moveTo>
                <a:lnTo>
                  <a:pt x="177" y="12"/>
                </a:lnTo>
                <a:lnTo>
                  <a:pt x="236" y="0"/>
                </a:lnTo>
                <a:lnTo>
                  <a:pt x="211" y="55"/>
                </a:lnTo>
                <a:lnTo>
                  <a:pt x="208" y="22"/>
                </a:lnTo>
                <a:close/>
                <a:moveTo>
                  <a:pt x="29" y="165"/>
                </a:moveTo>
                <a:lnTo>
                  <a:pt x="59" y="175"/>
                </a:lnTo>
                <a:lnTo>
                  <a:pt x="0" y="187"/>
                </a:lnTo>
                <a:lnTo>
                  <a:pt x="26" y="133"/>
                </a:lnTo>
                <a:lnTo>
                  <a:pt x="29" y="165"/>
                </a:lnTo>
                <a:close/>
              </a:path>
            </a:pathLst>
          </a:custGeom>
          <a:solidFill>
            <a:srgbClr val="FF0000"/>
          </a:solidFill>
          <a:ln w="0">
            <a:solidFill>
              <a:srgbClr val="FF0000"/>
            </a:solidFill>
            <a:round/>
            <a:headEnd/>
            <a:tailEnd/>
          </a:ln>
        </p:spPr>
        <p:txBody>
          <a:bodyPr/>
          <a:lstStyle/>
          <a:p>
            <a:endParaRPr lang="en-US"/>
          </a:p>
        </p:txBody>
      </p:sp>
      <p:sp>
        <p:nvSpPr>
          <p:cNvPr id="42014" name="Freeform 239"/>
          <p:cNvSpPr>
            <a:spLocks noEditPoints="1"/>
          </p:cNvSpPr>
          <p:nvPr/>
        </p:nvSpPr>
        <p:spPr bwMode="auto">
          <a:xfrm>
            <a:off x="4391025" y="2441575"/>
            <a:ext cx="803275" cy="122238"/>
          </a:xfrm>
          <a:custGeom>
            <a:avLst/>
            <a:gdLst>
              <a:gd name="T0" fmla="*/ 2147483647 w 506"/>
              <a:gd name="T1" fmla="*/ 2147483647 h 77"/>
              <a:gd name="T2" fmla="*/ 2147483647 w 506"/>
              <a:gd name="T3" fmla="*/ 2147483647 h 77"/>
              <a:gd name="T4" fmla="*/ 2147483647 w 506"/>
              <a:gd name="T5" fmla="*/ 2147483647 h 77"/>
              <a:gd name="T6" fmla="*/ 2147483647 w 506"/>
              <a:gd name="T7" fmla="*/ 2147483647 h 77"/>
              <a:gd name="T8" fmla="*/ 2147483647 w 506"/>
              <a:gd name="T9" fmla="*/ 2147483647 h 77"/>
              <a:gd name="T10" fmla="*/ 2147483647 w 506"/>
              <a:gd name="T11" fmla="*/ 2147483647 h 77"/>
              <a:gd name="T12" fmla="*/ 2147483647 w 506"/>
              <a:gd name="T13" fmla="*/ 2147483647 h 77"/>
              <a:gd name="T14" fmla="*/ 2147483647 w 506"/>
              <a:gd name="T15" fmla="*/ 2147483647 h 77"/>
              <a:gd name="T16" fmla="*/ 2147483647 w 506"/>
              <a:gd name="T17" fmla="*/ 2147483647 h 77"/>
              <a:gd name="T18" fmla="*/ 2147483647 w 506"/>
              <a:gd name="T19" fmla="*/ 2147483647 h 77"/>
              <a:gd name="T20" fmla="*/ 2147483647 w 506"/>
              <a:gd name="T21" fmla="*/ 2147483647 h 77"/>
              <a:gd name="T22" fmla="*/ 2147483647 w 506"/>
              <a:gd name="T23" fmla="*/ 2147483647 h 77"/>
              <a:gd name="T24" fmla="*/ 0 w 506"/>
              <a:gd name="T25" fmla="*/ 2147483647 h 77"/>
              <a:gd name="T26" fmla="*/ 2147483647 w 506"/>
              <a:gd name="T27" fmla="*/ 0 h 77"/>
              <a:gd name="T28" fmla="*/ 2147483647 w 506"/>
              <a:gd name="T29" fmla="*/ 2147483647 h 7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06"/>
              <a:gd name="T46" fmla="*/ 0 h 77"/>
              <a:gd name="T47" fmla="*/ 506 w 506"/>
              <a:gd name="T48" fmla="*/ 77 h 7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06" h="77">
                <a:moveTo>
                  <a:pt x="470" y="60"/>
                </a:moveTo>
                <a:lnTo>
                  <a:pt x="35" y="35"/>
                </a:lnTo>
                <a:lnTo>
                  <a:pt x="36" y="17"/>
                </a:lnTo>
                <a:lnTo>
                  <a:pt x="471" y="42"/>
                </a:lnTo>
                <a:lnTo>
                  <a:pt x="470" y="60"/>
                </a:lnTo>
                <a:close/>
                <a:moveTo>
                  <a:pt x="470" y="51"/>
                </a:moveTo>
                <a:lnTo>
                  <a:pt x="454" y="23"/>
                </a:lnTo>
                <a:lnTo>
                  <a:pt x="506" y="53"/>
                </a:lnTo>
                <a:lnTo>
                  <a:pt x="451" y="77"/>
                </a:lnTo>
                <a:lnTo>
                  <a:pt x="470" y="51"/>
                </a:lnTo>
                <a:close/>
                <a:moveTo>
                  <a:pt x="36" y="26"/>
                </a:moveTo>
                <a:lnTo>
                  <a:pt x="52" y="54"/>
                </a:lnTo>
                <a:lnTo>
                  <a:pt x="0" y="23"/>
                </a:lnTo>
                <a:lnTo>
                  <a:pt x="55" y="0"/>
                </a:lnTo>
                <a:lnTo>
                  <a:pt x="36" y="26"/>
                </a:lnTo>
                <a:close/>
              </a:path>
            </a:pathLst>
          </a:custGeom>
          <a:solidFill>
            <a:srgbClr val="FF0000"/>
          </a:solidFill>
          <a:ln w="0">
            <a:solidFill>
              <a:srgbClr val="FF0000"/>
            </a:solidFill>
            <a:round/>
            <a:headEnd/>
            <a:tailEnd/>
          </a:ln>
        </p:spPr>
        <p:txBody>
          <a:bodyPr/>
          <a:lstStyle/>
          <a:p>
            <a:endParaRPr lang="en-US"/>
          </a:p>
        </p:txBody>
      </p:sp>
      <p:sp>
        <p:nvSpPr>
          <p:cNvPr id="42015" name="Freeform 240"/>
          <p:cNvSpPr>
            <a:spLocks noEditPoints="1"/>
          </p:cNvSpPr>
          <p:nvPr/>
        </p:nvSpPr>
        <p:spPr bwMode="auto">
          <a:xfrm>
            <a:off x="4391025" y="2849563"/>
            <a:ext cx="214313" cy="114300"/>
          </a:xfrm>
          <a:custGeom>
            <a:avLst/>
            <a:gdLst>
              <a:gd name="T0" fmla="*/ 2147483647 w 135"/>
              <a:gd name="T1" fmla="*/ 2147483647 h 72"/>
              <a:gd name="T2" fmla="*/ 2147483647 w 135"/>
              <a:gd name="T3" fmla="*/ 2147483647 h 72"/>
              <a:gd name="T4" fmla="*/ 2147483647 w 135"/>
              <a:gd name="T5" fmla="*/ 2147483647 h 72"/>
              <a:gd name="T6" fmla="*/ 2147483647 w 135"/>
              <a:gd name="T7" fmla="*/ 2147483647 h 72"/>
              <a:gd name="T8" fmla="*/ 2147483647 w 135"/>
              <a:gd name="T9" fmla="*/ 2147483647 h 72"/>
              <a:gd name="T10" fmla="*/ 2147483647 w 135"/>
              <a:gd name="T11" fmla="*/ 2147483647 h 72"/>
              <a:gd name="T12" fmla="*/ 2147483647 w 135"/>
              <a:gd name="T13" fmla="*/ 2147483647 h 72"/>
              <a:gd name="T14" fmla="*/ 2147483647 w 135"/>
              <a:gd name="T15" fmla="*/ 0 h 72"/>
              <a:gd name="T16" fmla="*/ 2147483647 w 135"/>
              <a:gd name="T17" fmla="*/ 2147483647 h 72"/>
              <a:gd name="T18" fmla="*/ 2147483647 w 135"/>
              <a:gd name="T19" fmla="*/ 2147483647 h 72"/>
              <a:gd name="T20" fmla="*/ 2147483647 w 135"/>
              <a:gd name="T21" fmla="*/ 2147483647 h 72"/>
              <a:gd name="T22" fmla="*/ 2147483647 w 135"/>
              <a:gd name="T23" fmla="*/ 2147483647 h 72"/>
              <a:gd name="T24" fmla="*/ 0 w 135"/>
              <a:gd name="T25" fmla="*/ 2147483647 h 72"/>
              <a:gd name="T26" fmla="*/ 2147483647 w 135"/>
              <a:gd name="T27" fmla="*/ 2147483647 h 72"/>
              <a:gd name="T28" fmla="*/ 2147483647 w 135"/>
              <a:gd name="T29" fmla="*/ 2147483647 h 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5"/>
              <a:gd name="T46" fmla="*/ 0 h 72"/>
              <a:gd name="T47" fmla="*/ 135 w 135"/>
              <a:gd name="T48" fmla="*/ 72 h 7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5" h="72">
                <a:moveTo>
                  <a:pt x="107" y="25"/>
                </a:moveTo>
                <a:lnTo>
                  <a:pt x="36" y="63"/>
                </a:lnTo>
                <a:lnTo>
                  <a:pt x="27" y="47"/>
                </a:lnTo>
                <a:lnTo>
                  <a:pt x="99" y="9"/>
                </a:lnTo>
                <a:lnTo>
                  <a:pt x="107" y="25"/>
                </a:lnTo>
                <a:close/>
                <a:moveTo>
                  <a:pt x="103" y="17"/>
                </a:moveTo>
                <a:lnTo>
                  <a:pt x="74" y="2"/>
                </a:lnTo>
                <a:lnTo>
                  <a:pt x="135" y="0"/>
                </a:lnTo>
                <a:lnTo>
                  <a:pt x="100" y="50"/>
                </a:lnTo>
                <a:lnTo>
                  <a:pt x="103" y="17"/>
                </a:lnTo>
                <a:close/>
                <a:moveTo>
                  <a:pt x="32" y="55"/>
                </a:moveTo>
                <a:lnTo>
                  <a:pt x="60" y="71"/>
                </a:lnTo>
                <a:lnTo>
                  <a:pt x="0" y="72"/>
                </a:lnTo>
                <a:lnTo>
                  <a:pt x="35" y="23"/>
                </a:lnTo>
                <a:lnTo>
                  <a:pt x="32" y="55"/>
                </a:lnTo>
                <a:close/>
              </a:path>
            </a:pathLst>
          </a:custGeom>
          <a:solidFill>
            <a:srgbClr val="FF0000"/>
          </a:solidFill>
          <a:ln w="0">
            <a:solidFill>
              <a:srgbClr val="FF0000"/>
            </a:solidFill>
            <a:round/>
            <a:headEnd/>
            <a:tailEnd/>
          </a:ln>
        </p:spPr>
        <p:txBody>
          <a:bodyPr/>
          <a:lstStyle/>
          <a:p>
            <a:endParaRPr lang="en-US"/>
          </a:p>
        </p:txBody>
      </p:sp>
      <p:sp>
        <p:nvSpPr>
          <p:cNvPr id="42016" name="Freeform 241"/>
          <p:cNvSpPr>
            <a:spLocks noEditPoints="1"/>
          </p:cNvSpPr>
          <p:nvPr/>
        </p:nvSpPr>
        <p:spPr bwMode="auto">
          <a:xfrm>
            <a:off x="4883150" y="2576513"/>
            <a:ext cx="312738" cy="149225"/>
          </a:xfrm>
          <a:custGeom>
            <a:avLst/>
            <a:gdLst>
              <a:gd name="T0" fmla="*/ 2147483647 w 197"/>
              <a:gd name="T1" fmla="*/ 2147483647 h 94"/>
              <a:gd name="T2" fmla="*/ 2147483647 w 197"/>
              <a:gd name="T3" fmla="*/ 2147483647 h 94"/>
              <a:gd name="T4" fmla="*/ 2147483647 w 197"/>
              <a:gd name="T5" fmla="*/ 2147483647 h 94"/>
              <a:gd name="T6" fmla="*/ 2147483647 w 197"/>
              <a:gd name="T7" fmla="*/ 2147483647 h 94"/>
              <a:gd name="T8" fmla="*/ 2147483647 w 197"/>
              <a:gd name="T9" fmla="*/ 2147483647 h 94"/>
              <a:gd name="T10" fmla="*/ 2147483647 w 197"/>
              <a:gd name="T11" fmla="*/ 2147483647 h 94"/>
              <a:gd name="T12" fmla="*/ 2147483647 w 197"/>
              <a:gd name="T13" fmla="*/ 0 h 94"/>
              <a:gd name="T14" fmla="*/ 2147483647 w 197"/>
              <a:gd name="T15" fmla="*/ 2147483647 h 94"/>
              <a:gd name="T16" fmla="*/ 2147483647 w 197"/>
              <a:gd name="T17" fmla="*/ 2147483647 h 94"/>
              <a:gd name="T18" fmla="*/ 2147483647 w 197"/>
              <a:gd name="T19" fmla="*/ 2147483647 h 94"/>
              <a:gd name="T20" fmla="*/ 2147483647 w 197"/>
              <a:gd name="T21" fmla="*/ 2147483647 h 94"/>
              <a:gd name="T22" fmla="*/ 2147483647 w 197"/>
              <a:gd name="T23" fmla="*/ 2147483647 h 94"/>
              <a:gd name="T24" fmla="*/ 0 w 197"/>
              <a:gd name="T25" fmla="*/ 2147483647 h 94"/>
              <a:gd name="T26" fmla="*/ 2147483647 w 197"/>
              <a:gd name="T27" fmla="*/ 2147483647 h 94"/>
              <a:gd name="T28" fmla="*/ 2147483647 w 197"/>
              <a:gd name="T29" fmla="*/ 2147483647 h 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7"/>
              <a:gd name="T46" fmla="*/ 0 h 94"/>
              <a:gd name="T47" fmla="*/ 197 w 197"/>
              <a:gd name="T48" fmla="*/ 94 h 9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7" h="94">
                <a:moveTo>
                  <a:pt x="168" y="25"/>
                </a:moveTo>
                <a:lnTo>
                  <a:pt x="37" y="85"/>
                </a:lnTo>
                <a:lnTo>
                  <a:pt x="29" y="69"/>
                </a:lnTo>
                <a:lnTo>
                  <a:pt x="160" y="8"/>
                </a:lnTo>
                <a:lnTo>
                  <a:pt x="168" y="25"/>
                </a:lnTo>
                <a:close/>
                <a:moveTo>
                  <a:pt x="164" y="17"/>
                </a:moveTo>
                <a:lnTo>
                  <a:pt x="136" y="0"/>
                </a:lnTo>
                <a:lnTo>
                  <a:pt x="197" y="1"/>
                </a:lnTo>
                <a:lnTo>
                  <a:pt x="159" y="49"/>
                </a:lnTo>
                <a:lnTo>
                  <a:pt x="164" y="17"/>
                </a:lnTo>
                <a:close/>
                <a:moveTo>
                  <a:pt x="33" y="77"/>
                </a:moveTo>
                <a:lnTo>
                  <a:pt x="61" y="94"/>
                </a:lnTo>
                <a:lnTo>
                  <a:pt x="0" y="92"/>
                </a:lnTo>
                <a:lnTo>
                  <a:pt x="38" y="45"/>
                </a:lnTo>
                <a:lnTo>
                  <a:pt x="33" y="77"/>
                </a:lnTo>
                <a:close/>
              </a:path>
            </a:pathLst>
          </a:custGeom>
          <a:solidFill>
            <a:srgbClr val="FF0000"/>
          </a:solidFill>
          <a:ln w="0">
            <a:solidFill>
              <a:srgbClr val="FF0000"/>
            </a:solidFill>
            <a:round/>
            <a:headEnd/>
            <a:tailEnd/>
          </a:ln>
        </p:spPr>
        <p:txBody>
          <a:bodyPr/>
          <a:lstStyle/>
          <a:p>
            <a:endParaRPr lang="en-US"/>
          </a:p>
        </p:txBody>
      </p:sp>
      <p:cxnSp>
        <p:nvCxnSpPr>
          <p:cNvPr id="338" name="Straight Arrow Connector 16599"/>
          <p:cNvCxnSpPr/>
          <p:nvPr/>
        </p:nvCxnSpPr>
        <p:spPr>
          <a:xfrm flipV="1">
            <a:off x="3311525" y="3414713"/>
            <a:ext cx="501650" cy="249237"/>
          </a:xfrm>
          <a:prstGeom prst="straightConnector1">
            <a:avLst/>
          </a:prstGeom>
          <a:ln w="38100">
            <a:solidFill>
              <a:srgbClr val="00FF04"/>
            </a:solidFill>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339" name="Straight Arrow Connector 251"/>
          <p:cNvCxnSpPr/>
          <p:nvPr/>
        </p:nvCxnSpPr>
        <p:spPr>
          <a:xfrm flipV="1">
            <a:off x="2778125" y="2501900"/>
            <a:ext cx="663575" cy="360363"/>
          </a:xfrm>
          <a:prstGeom prst="straightConnector1">
            <a:avLst/>
          </a:prstGeom>
          <a:ln w="38100">
            <a:solidFill>
              <a:srgbClr val="FFFF00"/>
            </a:solidFill>
            <a:headEnd type="stealth"/>
            <a:tailEnd type="stealth"/>
          </a:ln>
        </p:spPr>
        <p:style>
          <a:lnRef idx="1">
            <a:schemeClr val="accent1"/>
          </a:lnRef>
          <a:fillRef idx="0">
            <a:schemeClr val="accent1"/>
          </a:fillRef>
          <a:effectRef idx="0">
            <a:schemeClr val="accent1"/>
          </a:effectRef>
          <a:fontRef idx="minor">
            <a:schemeClr val="tx1"/>
          </a:fontRef>
        </p:style>
      </p:cxnSp>
      <p:sp>
        <p:nvSpPr>
          <p:cNvPr id="42019" name="Freeform 29"/>
          <p:cNvSpPr>
            <a:spLocks noEditPoints="1"/>
          </p:cNvSpPr>
          <p:nvPr/>
        </p:nvSpPr>
        <p:spPr bwMode="auto">
          <a:xfrm>
            <a:off x="722313" y="5522913"/>
            <a:ext cx="527050" cy="96837"/>
          </a:xfrm>
          <a:custGeom>
            <a:avLst/>
            <a:gdLst>
              <a:gd name="T0" fmla="*/ 0 w 332"/>
              <a:gd name="T1" fmla="*/ 2147483647 h 61"/>
              <a:gd name="T2" fmla="*/ 2147483647 w 332"/>
              <a:gd name="T3" fmla="*/ 2147483647 h 61"/>
              <a:gd name="T4" fmla="*/ 2147483647 w 332"/>
              <a:gd name="T5" fmla="*/ 2147483647 h 61"/>
              <a:gd name="T6" fmla="*/ 0 w 332"/>
              <a:gd name="T7" fmla="*/ 2147483647 h 61"/>
              <a:gd name="T8" fmla="*/ 0 w 332"/>
              <a:gd name="T9" fmla="*/ 2147483647 h 61"/>
              <a:gd name="T10" fmla="*/ 2147483647 w 332"/>
              <a:gd name="T11" fmla="*/ 2147483647 h 61"/>
              <a:gd name="T12" fmla="*/ 2147483647 w 332"/>
              <a:gd name="T13" fmla="*/ 2147483647 h 61"/>
              <a:gd name="T14" fmla="*/ 2147483647 w 332"/>
              <a:gd name="T15" fmla="*/ 2147483647 h 61"/>
              <a:gd name="T16" fmla="*/ 2147483647 w 332"/>
              <a:gd name="T17" fmla="*/ 2147483647 h 61"/>
              <a:gd name="T18" fmla="*/ 2147483647 w 332"/>
              <a:gd name="T19" fmla="*/ 2147483647 h 61"/>
              <a:gd name="T20" fmla="*/ 2147483647 w 332"/>
              <a:gd name="T21" fmla="*/ 2147483647 h 61"/>
              <a:gd name="T22" fmla="*/ 2147483647 w 332"/>
              <a:gd name="T23" fmla="*/ 2147483647 h 61"/>
              <a:gd name="T24" fmla="*/ 2147483647 w 332"/>
              <a:gd name="T25" fmla="*/ 2147483647 h 61"/>
              <a:gd name="T26" fmla="*/ 2147483647 w 332"/>
              <a:gd name="T27" fmla="*/ 2147483647 h 61"/>
              <a:gd name="T28" fmla="*/ 2147483647 w 332"/>
              <a:gd name="T29" fmla="*/ 0 h 61"/>
              <a:gd name="T30" fmla="*/ 2147483647 w 332"/>
              <a:gd name="T31" fmla="*/ 2147483647 h 61"/>
              <a:gd name="T32" fmla="*/ 2147483647 w 332"/>
              <a:gd name="T33" fmla="*/ 2147483647 h 61"/>
              <a:gd name="T34" fmla="*/ 2147483647 w 332"/>
              <a:gd name="T35" fmla="*/ 0 h 61"/>
              <a:gd name="T36" fmla="*/ 2147483647 w 332"/>
              <a:gd name="T37" fmla="*/ 2147483647 h 61"/>
              <a:gd name="T38" fmla="*/ 2147483647 w 332"/>
              <a:gd name="T39" fmla="*/ 2147483647 h 61"/>
              <a:gd name="T40" fmla="*/ 2147483647 w 332"/>
              <a:gd name="T41" fmla="*/ 2147483647 h 61"/>
              <a:gd name="T42" fmla="*/ 2147483647 w 332"/>
              <a:gd name="T43" fmla="*/ 2147483647 h 61"/>
              <a:gd name="T44" fmla="*/ 2147483647 w 332"/>
              <a:gd name="T45" fmla="*/ 2147483647 h 61"/>
              <a:gd name="T46" fmla="*/ 2147483647 w 332"/>
              <a:gd name="T47" fmla="*/ 2147483647 h 61"/>
              <a:gd name="T48" fmla="*/ 2147483647 w 332"/>
              <a:gd name="T49" fmla="*/ 2147483647 h 6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32"/>
              <a:gd name="T76" fmla="*/ 0 h 61"/>
              <a:gd name="T77" fmla="*/ 332 w 332"/>
              <a:gd name="T78" fmla="*/ 61 h 6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32" h="61">
                <a:moveTo>
                  <a:pt x="0" y="19"/>
                </a:moveTo>
                <a:lnTo>
                  <a:pt x="284" y="19"/>
                </a:lnTo>
                <a:lnTo>
                  <a:pt x="284" y="42"/>
                </a:lnTo>
                <a:lnTo>
                  <a:pt x="0" y="42"/>
                </a:lnTo>
                <a:lnTo>
                  <a:pt x="0" y="19"/>
                </a:lnTo>
                <a:close/>
                <a:moveTo>
                  <a:pt x="5" y="40"/>
                </a:moveTo>
                <a:lnTo>
                  <a:pt x="3" y="37"/>
                </a:lnTo>
                <a:lnTo>
                  <a:pt x="282" y="37"/>
                </a:lnTo>
                <a:lnTo>
                  <a:pt x="279" y="40"/>
                </a:lnTo>
                <a:lnTo>
                  <a:pt x="279" y="22"/>
                </a:lnTo>
                <a:lnTo>
                  <a:pt x="282" y="24"/>
                </a:lnTo>
                <a:lnTo>
                  <a:pt x="3" y="24"/>
                </a:lnTo>
                <a:lnTo>
                  <a:pt x="5" y="22"/>
                </a:lnTo>
                <a:lnTo>
                  <a:pt x="5" y="40"/>
                </a:lnTo>
                <a:close/>
                <a:moveTo>
                  <a:pt x="270" y="0"/>
                </a:moveTo>
                <a:lnTo>
                  <a:pt x="332" y="31"/>
                </a:lnTo>
                <a:lnTo>
                  <a:pt x="270" y="61"/>
                </a:lnTo>
                <a:lnTo>
                  <a:pt x="270" y="0"/>
                </a:lnTo>
                <a:close/>
                <a:moveTo>
                  <a:pt x="275" y="58"/>
                </a:moveTo>
                <a:lnTo>
                  <a:pt x="272" y="56"/>
                </a:lnTo>
                <a:lnTo>
                  <a:pt x="326" y="29"/>
                </a:lnTo>
                <a:lnTo>
                  <a:pt x="326" y="33"/>
                </a:lnTo>
                <a:lnTo>
                  <a:pt x="272" y="6"/>
                </a:lnTo>
                <a:lnTo>
                  <a:pt x="275" y="4"/>
                </a:lnTo>
                <a:lnTo>
                  <a:pt x="275" y="58"/>
                </a:lnTo>
                <a:close/>
              </a:path>
            </a:pathLst>
          </a:custGeom>
          <a:solidFill>
            <a:srgbClr val="00FF04"/>
          </a:solidFill>
          <a:ln w="0">
            <a:solidFill>
              <a:srgbClr val="00FF04"/>
            </a:solidFill>
            <a:round/>
            <a:headEnd/>
            <a:tailEnd/>
          </a:ln>
        </p:spPr>
        <p:txBody>
          <a:bodyPr/>
          <a:lstStyle/>
          <a:p>
            <a:endParaRPr lang="en-US"/>
          </a:p>
        </p:txBody>
      </p:sp>
      <p:sp>
        <p:nvSpPr>
          <p:cNvPr id="42020" name="Rectangle 41"/>
          <p:cNvSpPr>
            <a:spLocks noChangeArrowheads="1"/>
          </p:cNvSpPr>
          <p:nvPr/>
        </p:nvSpPr>
        <p:spPr bwMode="auto">
          <a:xfrm>
            <a:off x="1406525" y="5532438"/>
            <a:ext cx="2892425" cy="139700"/>
          </a:xfrm>
          <a:prstGeom prst="rect">
            <a:avLst/>
          </a:prstGeom>
          <a:noFill/>
          <a:ln w="9525">
            <a:noFill/>
            <a:miter lim="800000"/>
            <a:headEnd/>
            <a:tailEnd/>
          </a:ln>
        </p:spPr>
        <p:txBody>
          <a:bodyPr wrap="none" lIns="0" tIns="0" rIns="0" bIns="0">
            <a:spAutoFit/>
          </a:bodyPr>
          <a:lstStyle/>
          <a:p>
            <a:r>
              <a:rPr lang="en-US" sz="900" b="1">
                <a:solidFill>
                  <a:srgbClr val="000000"/>
                </a:solidFill>
              </a:rPr>
              <a:t>Continuous IDXB (SOB system connected to a CMM)</a:t>
            </a:r>
            <a:endParaRPr lang="en-US" b="1"/>
          </a:p>
        </p:txBody>
      </p:sp>
      <p:sp>
        <p:nvSpPr>
          <p:cNvPr id="42021" name="Freeform 28"/>
          <p:cNvSpPr>
            <a:spLocks noEditPoints="1"/>
          </p:cNvSpPr>
          <p:nvPr/>
        </p:nvSpPr>
        <p:spPr bwMode="auto">
          <a:xfrm>
            <a:off x="735013" y="5535613"/>
            <a:ext cx="514350" cy="85725"/>
          </a:xfrm>
          <a:custGeom>
            <a:avLst/>
            <a:gdLst>
              <a:gd name="T0" fmla="*/ 0 w 324"/>
              <a:gd name="T1" fmla="*/ 2147483647 h 54"/>
              <a:gd name="T2" fmla="*/ 2147483647 w 324"/>
              <a:gd name="T3" fmla="*/ 2147483647 h 54"/>
              <a:gd name="T4" fmla="*/ 2147483647 w 324"/>
              <a:gd name="T5" fmla="*/ 2147483647 h 54"/>
              <a:gd name="T6" fmla="*/ 0 w 324"/>
              <a:gd name="T7" fmla="*/ 2147483647 h 54"/>
              <a:gd name="T8" fmla="*/ 0 w 324"/>
              <a:gd name="T9" fmla="*/ 2147483647 h 54"/>
              <a:gd name="T10" fmla="*/ 2147483647 w 324"/>
              <a:gd name="T11" fmla="*/ 0 h 54"/>
              <a:gd name="T12" fmla="*/ 2147483647 w 324"/>
              <a:gd name="T13" fmla="*/ 2147483647 h 54"/>
              <a:gd name="T14" fmla="*/ 2147483647 w 324"/>
              <a:gd name="T15" fmla="*/ 2147483647 h 54"/>
              <a:gd name="T16" fmla="*/ 2147483647 w 324"/>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4"/>
              <a:gd name="T28" fmla="*/ 0 h 54"/>
              <a:gd name="T29" fmla="*/ 324 w 324"/>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4" h="54">
                <a:moveTo>
                  <a:pt x="0" y="18"/>
                </a:moveTo>
                <a:lnTo>
                  <a:pt x="279" y="18"/>
                </a:lnTo>
                <a:lnTo>
                  <a:pt x="279" y="36"/>
                </a:lnTo>
                <a:lnTo>
                  <a:pt x="0" y="36"/>
                </a:lnTo>
                <a:lnTo>
                  <a:pt x="0" y="18"/>
                </a:lnTo>
                <a:close/>
                <a:moveTo>
                  <a:pt x="270" y="0"/>
                </a:moveTo>
                <a:lnTo>
                  <a:pt x="324" y="27"/>
                </a:lnTo>
                <a:lnTo>
                  <a:pt x="270" y="54"/>
                </a:lnTo>
                <a:lnTo>
                  <a:pt x="270" y="0"/>
                </a:lnTo>
                <a:close/>
              </a:path>
            </a:pathLst>
          </a:custGeom>
          <a:solidFill>
            <a:srgbClr val="00FF04"/>
          </a:solidFill>
          <a:ln w="9525">
            <a:noFill/>
            <a:miter lim="800000"/>
            <a:headEnd/>
            <a:tailEnd/>
          </a:ln>
        </p:spPr>
        <p:txBody>
          <a:bodyPr/>
          <a:lstStyle/>
          <a:p>
            <a:endParaRPr lang="en-US"/>
          </a:p>
        </p:txBody>
      </p:sp>
      <p:sp>
        <p:nvSpPr>
          <p:cNvPr id="42022" name="Rectangle 188"/>
          <p:cNvSpPr>
            <a:spLocks noChangeArrowheads="1"/>
          </p:cNvSpPr>
          <p:nvPr/>
        </p:nvSpPr>
        <p:spPr bwMode="auto">
          <a:xfrm>
            <a:off x="5534025" y="5680075"/>
            <a:ext cx="1779588" cy="138113"/>
          </a:xfrm>
          <a:prstGeom prst="rect">
            <a:avLst/>
          </a:prstGeom>
          <a:noFill/>
          <a:ln w="9525">
            <a:noFill/>
            <a:miter lim="800000"/>
            <a:headEnd/>
            <a:tailEnd/>
          </a:ln>
        </p:spPr>
        <p:txBody>
          <a:bodyPr lIns="0" tIns="0" rIns="0" bIns="0">
            <a:spAutoFit/>
          </a:bodyPr>
          <a:lstStyle/>
          <a:p>
            <a:r>
              <a:rPr lang="en-US" sz="900" b="1">
                <a:solidFill>
                  <a:srgbClr val="000000"/>
                </a:solidFill>
              </a:rPr>
              <a:t>Continuous IDXB </a:t>
            </a:r>
            <a:endParaRPr lang="en-US"/>
          </a:p>
        </p:txBody>
      </p:sp>
      <p:sp>
        <p:nvSpPr>
          <p:cNvPr id="42023" name="Freeform 178"/>
          <p:cNvSpPr>
            <a:spLocks/>
          </p:cNvSpPr>
          <p:nvPr/>
        </p:nvSpPr>
        <p:spPr bwMode="auto">
          <a:xfrm>
            <a:off x="5287963" y="5629275"/>
            <a:ext cx="165100" cy="165100"/>
          </a:xfrm>
          <a:custGeom>
            <a:avLst/>
            <a:gdLst>
              <a:gd name="T0" fmla="*/ 0 w 368"/>
              <a:gd name="T1" fmla="*/ 2147483647 h 368"/>
              <a:gd name="T2" fmla="*/ 2147483647 w 368"/>
              <a:gd name="T3" fmla="*/ 0 h 368"/>
              <a:gd name="T4" fmla="*/ 2147483647 w 368"/>
              <a:gd name="T5" fmla="*/ 0 h 368"/>
              <a:gd name="T6" fmla="*/ 2147483647 w 368"/>
              <a:gd name="T7" fmla="*/ 0 h 368"/>
              <a:gd name="T8" fmla="*/ 2147483647 w 368"/>
              <a:gd name="T9" fmla="*/ 2147483647 h 368"/>
              <a:gd name="T10" fmla="*/ 2147483647 w 368"/>
              <a:gd name="T11" fmla="*/ 2147483647 h 368"/>
              <a:gd name="T12" fmla="*/ 2147483647 w 368"/>
              <a:gd name="T13" fmla="*/ 2147483647 h 368"/>
              <a:gd name="T14" fmla="*/ 2147483647 w 368"/>
              <a:gd name="T15" fmla="*/ 2147483647 h 368"/>
              <a:gd name="T16" fmla="*/ 2147483647 w 368"/>
              <a:gd name="T17" fmla="*/ 2147483647 h 368"/>
              <a:gd name="T18" fmla="*/ 2147483647 w 368"/>
              <a:gd name="T19" fmla="*/ 2147483647 h 368"/>
              <a:gd name="T20" fmla="*/ 0 w 368"/>
              <a:gd name="T21" fmla="*/ 2147483647 h 368"/>
              <a:gd name="T22" fmla="*/ 0 w 368"/>
              <a:gd name="T23" fmla="*/ 2147483647 h 3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8"/>
              <a:gd name="T37" fmla="*/ 0 h 368"/>
              <a:gd name="T38" fmla="*/ 368 w 368"/>
              <a:gd name="T39" fmla="*/ 368 h 36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8" h="368">
                <a:moveTo>
                  <a:pt x="0" y="184"/>
                </a:moveTo>
                <a:cubicBezTo>
                  <a:pt x="0" y="83"/>
                  <a:pt x="83" y="0"/>
                  <a:pt x="184" y="0"/>
                </a:cubicBezTo>
                <a:cubicBezTo>
                  <a:pt x="184" y="0"/>
                  <a:pt x="184" y="0"/>
                  <a:pt x="184" y="0"/>
                </a:cubicBezTo>
                <a:cubicBezTo>
                  <a:pt x="286" y="0"/>
                  <a:pt x="368" y="83"/>
                  <a:pt x="368" y="184"/>
                </a:cubicBezTo>
                <a:cubicBezTo>
                  <a:pt x="368" y="184"/>
                  <a:pt x="368" y="184"/>
                  <a:pt x="368" y="184"/>
                </a:cubicBezTo>
                <a:cubicBezTo>
                  <a:pt x="368" y="286"/>
                  <a:pt x="286" y="368"/>
                  <a:pt x="184" y="368"/>
                </a:cubicBezTo>
                <a:cubicBezTo>
                  <a:pt x="184" y="368"/>
                  <a:pt x="184" y="368"/>
                  <a:pt x="184" y="368"/>
                </a:cubicBezTo>
                <a:cubicBezTo>
                  <a:pt x="83" y="368"/>
                  <a:pt x="0" y="286"/>
                  <a:pt x="0" y="184"/>
                </a:cubicBezTo>
                <a:cubicBezTo>
                  <a:pt x="0" y="184"/>
                  <a:pt x="0" y="184"/>
                  <a:pt x="0" y="184"/>
                </a:cubicBezTo>
                <a:close/>
              </a:path>
            </a:pathLst>
          </a:custGeom>
          <a:solidFill>
            <a:srgbClr val="00FF04"/>
          </a:solidFill>
          <a:ln w="0">
            <a:solidFill>
              <a:srgbClr val="000000"/>
            </a:solidFill>
            <a:round/>
            <a:headEnd/>
            <a:tailEnd/>
          </a:ln>
        </p:spPr>
        <p:txBody>
          <a:bodyPr/>
          <a:lstStyle/>
          <a:p>
            <a:endParaRPr lang="en-US"/>
          </a:p>
        </p:txBody>
      </p:sp>
      <p:sp>
        <p:nvSpPr>
          <p:cNvPr id="42024" name="Rectangle 102"/>
          <p:cNvSpPr>
            <a:spLocks noChangeArrowheads="1"/>
          </p:cNvSpPr>
          <p:nvPr/>
        </p:nvSpPr>
        <p:spPr bwMode="auto">
          <a:xfrm>
            <a:off x="5519738" y="3267075"/>
            <a:ext cx="155575" cy="153988"/>
          </a:xfrm>
          <a:prstGeom prst="rect">
            <a:avLst/>
          </a:prstGeom>
          <a:solidFill>
            <a:srgbClr val="FF8000"/>
          </a:solidFill>
          <a:ln w="9525">
            <a:noFill/>
            <a:miter lim="800000"/>
            <a:headEnd/>
            <a:tailEnd/>
          </a:ln>
        </p:spPr>
        <p:txBody>
          <a:bodyPr wrap="none" lIns="0" tIns="0" rIns="0" bIns="0">
            <a:spAutoFit/>
          </a:bodyPr>
          <a:lstStyle/>
          <a:p>
            <a:r>
              <a:rPr lang="en-US" sz="1000">
                <a:solidFill>
                  <a:srgbClr val="000000"/>
                </a:solidFill>
              </a:rPr>
              <a:t>PL</a:t>
            </a:r>
            <a:endParaRPr lang="en-US"/>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Titre 1"/>
          <p:cNvSpPr>
            <a:spLocks/>
          </p:cNvSpPr>
          <p:nvPr/>
        </p:nvSpPr>
        <p:spPr bwMode="auto">
          <a:xfrm>
            <a:off x="1619250" y="476250"/>
            <a:ext cx="7129463" cy="1143000"/>
          </a:xfrm>
          <a:prstGeom prst="rect">
            <a:avLst/>
          </a:prstGeom>
          <a:noFill/>
          <a:ln w="9525">
            <a:noFill/>
            <a:miter lim="800000"/>
            <a:headEnd/>
            <a:tailEnd/>
          </a:ln>
        </p:spPr>
        <p:txBody>
          <a:bodyPr anchor="b"/>
          <a:lstStyle/>
          <a:p>
            <a:pPr eaLnBrk="0" hangingPunct="0"/>
            <a:r>
              <a:rPr lang="fr-FR" sz="3200" b="1">
                <a:solidFill>
                  <a:srgbClr val="7F7F7F"/>
                </a:solidFill>
                <a:latin typeface="Tw Cen MT" pitchFamily="34" charset="0"/>
              </a:rPr>
              <a:t>Content</a:t>
            </a:r>
            <a:endParaRPr lang="fr-FR" sz="2400" b="1" i="1">
              <a:solidFill>
                <a:srgbClr val="7F7F7F"/>
              </a:solidFill>
              <a:latin typeface="Tw Cen MT" pitchFamily="34" charset="0"/>
            </a:endParaRPr>
          </a:p>
        </p:txBody>
      </p:sp>
      <p:sp>
        <p:nvSpPr>
          <p:cNvPr id="24578" name="Suorakulmio 3"/>
          <p:cNvSpPr>
            <a:spLocks noChangeArrowheads="1"/>
          </p:cNvSpPr>
          <p:nvPr/>
        </p:nvSpPr>
        <p:spPr bwMode="auto">
          <a:xfrm>
            <a:off x="468313" y="2276475"/>
            <a:ext cx="8318500" cy="3693319"/>
          </a:xfrm>
          <a:prstGeom prst="rect">
            <a:avLst/>
          </a:prstGeom>
          <a:noFill/>
          <a:ln w="9525">
            <a:noFill/>
            <a:miter lim="800000"/>
            <a:headEnd/>
            <a:tailEnd/>
          </a:ln>
        </p:spPr>
        <p:txBody>
          <a:bodyPr>
            <a:spAutoFit/>
          </a:bodyPr>
          <a:lstStyle/>
          <a:p>
            <a:pPr marL="457200" indent="-457200">
              <a:spcBef>
                <a:spcPct val="25000"/>
              </a:spcBef>
              <a:buFontTx/>
              <a:buAutoNum type="arabicPeriod"/>
            </a:pPr>
            <a:r>
              <a:rPr lang="en-US" sz="2400" dirty="0">
                <a:latin typeface="Tw Cen MT" pitchFamily="34" charset="0"/>
                <a:sym typeface="Wingdings" pitchFamily="2" charset="2"/>
              </a:rPr>
              <a:t>Setting</a:t>
            </a:r>
          </a:p>
          <a:p>
            <a:pPr marL="457200" indent="-457200">
              <a:spcBef>
                <a:spcPct val="25000"/>
              </a:spcBef>
              <a:buFontTx/>
              <a:buAutoNum type="arabicPeriod"/>
            </a:pPr>
            <a:r>
              <a:rPr lang="en-US" sz="2400" dirty="0">
                <a:latin typeface="Tw Cen MT" pitchFamily="34" charset="0"/>
                <a:sym typeface="Wingdings" pitchFamily="2" charset="2"/>
              </a:rPr>
              <a:t>Introduction</a:t>
            </a:r>
          </a:p>
          <a:p>
            <a:pPr marL="457200" indent="-457200">
              <a:spcBef>
                <a:spcPct val="25000"/>
              </a:spcBef>
              <a:buFontTx/>
              <a:buAutoNum type="arabicPeriod"/>
            </a:pPr>
            <a:r>
              <a:rPr lang="en-US" sz="2400" dirty="0">
                <a:latin typeface="Tw Cen MT" pitchFamily="34" charset="0"/>
                <a:sym typeface="Wingdings" pitchFamily="2" charset="2"/>
              </a:rPr>
              <a:t>Technical Solution</a:t>
            </a:r>
          </a:p>
          <a:p>
            <a:pPr marL="457200" indent="-457200">
              <a:spcBef>
                <a:spcPct val="25000"/>
              </a:spcBef>
              <a:buFontTx/>
              <a:buAutoNum type="arabicPeriod"/>
            </a:pPr>
            <a:r>
              <a:rPr lang="en-US" sz="2400" dirty="0">
                <a:latin typeface="Tw Cen MT" pitchFamily="34" charset="0"/>
                <a:sym typeface="Wingdings" pitchFamily="2" charset="2"/>
              </a:rPr>
              <a:t>Governance Arrangements</a:t>
            </a:r>
          </a:p>
          <a:p>
            <a:pPr marL="457200" indent="-457200">
              <a:spcBef>
                <a:spcPct val="25000"/>
              </a:spcBef>
              <a:buFontTx/>
              <a:buAutoNum type="arabicPeriod"/>
            </a:pPr>
            <a:r>
              <a:rPr lang="en-US" sz="2400" dirty="0">
                <a:latin typeface="Tw Cen MT" pitchFamily="34" charset="0"/>
                <a:sym typeface="Wingdings" pitchFamily="2" charset="2"/>
              </a:rPr>
              <a:t>Roadmap</a:t>
            </a:r>
          </a:p>
          <a:p>
            <a:pPr marL="457200" indent="-457200">
              <a:spcBef>
                <a:spcPct val="25000"/>
              </a:spcBef>
              <a:buFontTx/>
              <a:buAutoNum type="arabicPeriod"/>
            </a:pPr>
            <a:r>
              <a:rPr lang="en-US" sz="2400" dirty="0">
                <a:latin typeface="Tw Cen MT" pitchFamily="34" charset="0"/>
                <a:sym typeface="Wingdings" pitchFamily="2" charset="2"/>
              </a:rPr>
              <a:t>NWE </a:t>
            </a:r>
            <a:r>
              <a:rPr lang="en-US" sz="2400" dirty="0" smtClean="0">
                <a:latin typeface="Tw Cen MT" pitchFamily="34" charset="0"/>
                <a:sym typeface="Wingdings" pitchFamily="2" charset="2"/>
              </a:rPr>
              <a:t>Implementation</a:t>
            </a:r>
          </a:p>
          <a:p>
            <a:pPr marL="457200" indent="-457200">
              <a:spcBef>
                <a:spcPct val="25000"/>
              </a:spcBef>
              <a:buFontTx/>
              <a:buAutoNum type="arabicPeriod"/>
            </a:pPr>
            <a:r>
              <a:rPr lang="en-US" sz="2400" dirty="0">
                <a:latin typeface="Tw Cen MT" pitchFamily="34" charset="0"/>
                <a:sym typeface="Wingdings" pitchFamily="2" charset="2"/>
              </a:rPr>
              <a:t>Challenges ahead</a:t>
            </a:r>
            <a:endParaRPr lang="en-US" sz="2400" dirty="0">
              <a:latin typeface="Tw Cen MT" pitchFamily="34" charset="0"/>
              <a:sym typeface="Wingdings" pitchFamily="2" charset="2"/>
            </a:endParaRPr>
          </a:p>
          <a:p>
            <a:pPr marL="457200" indent="-457200">
              <a:spcBef>
                <a:spcPct val="25000"/>
              </a:spcBef>
              <a:buFontTx/>
              <a:buAutoNum type="arabicPeriod"/>
            </a:pPr>
            <a:endParaRPr lang="en-US" sz="2400" dirty="0">
              <a:latin typeface="Tw Cen MT" pitchFamily="34" charset="0"/>
              <a:sym typeface="Wingdings" pitchFamily="2" charset="2"/>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itre 1"/>
          <p:cNvSpPr>
            <a:spLocks/>
          </p:cNvSpPr>
          <p:nvPr/>
        </p:nvSpPr>
        <p:spPr bwMode="auto">
          <a:xfrm>
            <a:off x="1619250" y="476250"/>
            <a:ext cx="7129463" cy="1143000"/>
          </a:xfrm>
          <a:prstGeom prst="rect">
            <a:avLst/>
          </a:prstGeom>
          <a:noFill/>
          <a:ln w="9525">
            <a:noFill/>
            <a:miter lim="800000"/>
            <a:headEnd/>
            <a:tailEnd/>
          </a:ln>
        </p:spPr>
        <p:txBody>
          <a:bodyPr anchor="b"/>
          <a:lstStyle/>
          <a:p>
            <a:pPr eaLnBrk="0" hangingPunct="0"/>
            <a:r>
              <a:rPr lang="fr-FR" sz="3200" b="1">
                <a:solidFill>
                  <a:srgbClr val="7F7F7F"/>
                </a:solidFill>
                <a:latin typeface="Tw Cen MT" pitchFamily="34" charset="0"/>
              </a:rPr>
              <a:t>1. Setting</a:t>
            </a:r>
            <a:endParaRPr lang="fr-FR" sz="2400" b="1" i="1">
              <a:solidFill>
                <a:srgbClr val="7F7F7F"/>
              </a:solidFill>
              <a:latin typeface="Tw Cen MT" pitchFamily="34" charset="0"/>
            </a:endParaRPr>
          </a:p>
        </p:txBody>
      </p:sp>
      <p:sp>
        <p:nvSpPr>
          <p:cNvPr id="13315" name="Suorakulmio 3"/>
          <p:cNvSpPr>
            <a:spLocks noChangeArrowheads="1"/>
          </p:cNvSpPr>
          <p:nvPr/>
        </p:nvSpPr>
        <p:spPr bwMode="auto">
          <a:xfrm>
            <a:off x="395288" y="1773238"/>
            <a:ext cx="8353425" cy="4662815"/>
          </a:xfrm>
          <a:prstGeom prst="rect">
            <a:avLst/>
          </a:prstGeom>
          <a:noFill/>
          <a:ln>
            <a:noFill/>
          </a:ln>
          <a:extLst/>
        </p:spPr>
        <p:txBody>
          <a:bodyPr>
            <a:spAutoFit/>
          </a:bodyPr>
          <a:lstStyle/>
          <a:p>
            <a:pPr marL="457200" indent="-457200">
              <a:spcBef>
                <a:spcPts val="1800"/>
              </a:spcBef>
              <a:buFont typeface="Times New Roman" pitchFamily="18" charset="0"/>
              <a:buChar char="•"/>
              <a:defRPr/>
            </a:pPr>
            <a:r>
              <a:rPr lang="en-US" dirty="0">
                <a:latin typeface="Tw Cen MT" pitchFamily="34" charset="0"/>
                <a:sym typeface="Wingdings" pitchFamily="2" charset="2"/>
              </a:rPr>
              <a:t>The target model for intraday is acknowledged by all stakeholders: </a:t>
            </a:r>
            <a:r>
              <a:rPr lang="en-US" b="1" dirty="0">
                <a:latin typeface="Tw Cen MT" pitchFamily="34" charset="0"/>
                <a:sym typeface="Wingdings" pitchFamily="2" charset="2"/>
              </a:rPr>
              <a:t>Continuous implicit allocation</a:t>
            </a:r>
          </a:p>
          <a:p>
            <a:pPr marL="457200" indent="-457200">
              <a:spcBef>
                <a:spcPts val="1800"/>
              </a:spcBef>
              <a:buFont typeface="Times New Roman" pitchFamily="18" charset="0"/>
              <a:buChar char="•"/>
              <a:defRPr/>
            </a:pPr>
            <a:r>
              <a:rPr lang="en-US" dirty="0" err="1">
                <a:latin typeface="Tw Cen MT" pitchFamily="34" charset="0"/>
                <a:sym typeface="Wingdings" pitchFamily="2" charset="2"/>
              </a:rPr>
              <a:t>Europex</a:t>
            </a:r>
            <a:r>
              <a:rPr lang="en-US" dirty="0">
                <a:latin typeface="Tw Cen MT" pitchFamily="34" charset="0"/>
                <a:sym typeface="Wingdings" pitchFamily="2" charset="2"/>
              </a:rPr>
              <a:t> and ENTSO-E are committed to implement </a:t>
            </a:r>
            <a:br>
              <a:rPr lang="en-US" dirty="0">
                <a:latin typeface="Tw Cen MT" pitchFamily="34" charset="0"/>
                <a:sym typeface="Wingdings" pitchFamily="2" charset="2"/>
              </a:rPr>
            </a:br>
            <a:r>
              <a:rPr lang="en-US" dirty="0">
                <a:latin typeface="Tw Cen MT" pitchFamily="34" charset="0"/>
                <a:sym typeface="Wingdings" pitchFamily="2" charset="2"/>
              </a:rPr>
              <a:t>a pan-European cross-border Intraday mechanism:</a:t>
            </a:r>
          </a:p>
          <a:p>
            <a:pPr marL="914400" lvl="1" indent="-457200">
              <a:spcBef>
                <a:spcPts val="600"/>
              </a:spcBef>
              <a:buFont typeface="Times New Roman" pitchFamily="18" charset="0"/>
              <a:buChar char="•"/>
              <a:defRPr/>
            </a:pPr>
            <a:r>
              <a:rPr lang="en-US" dirty="0">
                <a:latin typeface="Tw Cen MT" pitchFamily="34" charset="0"/>
                <a:sym typeface="Wingdings" pitchFamily="2" charset="2"/>
              </a:rPr>
              <a:t>A </a:t>
            </a:r>
            <a:r>
              <a:rPr lang="en-US" b="1" dirty="0">
                <a:latin typeface="Tw Cen MT" pitchFamily="34" charset="0"/>
                <a:sym typeface="Wingdings" pitchFamily="2" charset="2"/>
              </a:rPr>
              <a:t>Shared Order Book </a:t>
            </a:r>
            <a:r>
              <a:rPr lang="en-US" dirty="0">
                <a:latin typeface="Tw Cen MT" pitchFamily="34" charset="0"/>
                <a:sym typeface="Wingdings" pitchFamily="2" charset="2"/>
              </a:rPr>
              <a:t>(SOB), performing </a:t>
            </a:r>
            <a:br>
              <a:rPr lang="en-US" dirty="0">
                <a:latin typeface="Tw Cen MT" pitchFamily="34" charset="0"/>
                <a:sym typeface="Wingdings" pitchFamily="2" charset="2"/>
              </a:rPr>
            </a:br>
            <a:r>
              <a:rPr lang="en-US" dirty="0">
                <a:latin typeface="Tw Cen MT" pitchFamily="34" charset="0"/>
                <a:sym typeface="Wingdings" pitchFamily="2" charset="2"/>
              </a:rPr>
              <a:t>continuous cross-border implicit intraday </a:t>
            </a:r>
            <a:br>
              <a:rPr lang="en-US" dirty="0">
                <a:latin typeface="Tw Cen MT" pitchFamily="34" charset="0"/>
                <a:sym typeface="Wingdings" pitchFamily="2" charset="2"/>
              </a:rPr>
            </a:br>
            <a:r>
              <a:rPr lang="en-US" dirty="0">
                <a:latin typeface="Tw Cen MT" pitchFamily="34" charset="0"/>
                <a:sym typeface="Wingdings" pitchFamily="2" charset="2"/>
              </a:rPr>
              <a:t>matching, and </a:t>
            </a:r>
          </a:p>
          <a:p>
            <a:pPr marL="914400" lvl="1" indent="-457200">
              <a:spcBef>
                <a:spcPts val="600"/>
              </a:spcBef>
              <a:buFont typeface="Times New Roman" pitchFamily="18" charset="0"/>
              <a:buChar char="•"/>
              <a:defRPr/>
            </a:pPr>
            <a:r>
              <a:rPr lang="en-US" dirty="0">
                <a:latin typeface="Tw Cen MT" pitchFamily="34" charset="0"/>
                <a:sym typeface="Wingdings" pitchFamily="2" charset="2"/>
              </a:rPr>
              <a:t>A </a:t>
            </a:r>
            <a:r>
              <a:rPr lang="en-US" b="1" dirty="0">
                <a:latin typeface="Tw Cen MT" pitchFamily="34" charset="0"/>
                <a:sym typeface="Wingdings" pitchFamily="2" charset="2"/>
              </a:rPr>
              <a:t>Capacity Management Module </a:t>
            </a:r>
            <a:r>
              <a:rPr lang="en-US" dirty="0">
                <a:latin typeface="Tw Cen MT" pitchFamily="34" charset="0"/>
                <a:sym typeface="Wingdings" pitchFamily="2" charset="2"/>
              </a:rPr>
              <a:t>(CMM) </a:t>
            </a:r>
            <a:br>
              <a:rPr lang="en-US" dirty="0">
                <a:latin typeface="Tw Cen MT" pitchFamily="34" charset="0"/>
                <a:sym typeface="Wingdings" pitchFamily="2" charset="2"/>
              </a:rPr>
            </a:br>
            <a:r>
              <a:rPr lang="en-US" dirty="0">
                <a:latin typeface="Tw Cen MT" pitchFamily="34" charset="0"/>
                <a:sym typeface="Wingdings" pitchFamily="2" charset="2"/>
              </a:rPr>
              <a:t>allocating the cross-border intraday capacity </a:t>
            </a:r>
            <a:br>
              <a:rPr lang="en-US" dirty="0">
                <a:latin typeface="Tw Cen MT" pitchFamily="34" charset="0"/>
                <a:sym typeface="Wingdings" pitchFamily="2" charset="2"/>
              </a:rPr>
            </a:br>
            <a:r>
              <a:rPr lang="en-US" dirty="0">
                <a:latin typeface="Tw Cen MT" pitchFamily="34" charset="0"/>
                <a:sym typeface="Wingdings" pitchFamily="2" charset="2"/>
              </a:rPr>
              <a:t>in a continuous </a:t>
            </a:r>
            <a:r>
              <a:rPr lang="en-US" dirty="0" smtClean="0">
                <a:latin typeface="Tw Cen MT" pitchFamily="34" charset="0"/>
                <a:sym typeface="Wingdings" pitchFamily="2" charset="2"/>
              </a:rPr>
              <a:t>manner</a:t>
            </a:r>
          </a:p>
          <a:p>
            <a:pPr marL="914400" lvl="1" indent="-457200">
              <a:spcBef>
                <a:spcPts val="600"/>
              </a:spcBef>
              <a:buFont typeface="Times New Roman" pitchFamily="18" charset="0"/>
              <a:buChar char="•"/>
              <a:defRPr/>
            </a:pPr>
            <a:r>
              <a:rPr lang="en-US" dirty="0">
                <a:latin typeface="Tw Cen MT" pitchFamily="34" charset="0"/>
                <a:sym typeface="Wingdings" pitchFamily="2" charset="2"/>
              </a:rPr>
              <a:t>In a </a:t>
            </a:r>
            <a:r>
              <a:rPr lang="en-US" b="1" dirty="0">
                <a:latin typeface="Tw Cen MT" pitchFamily="34" charset="0"/>
                <a:sym typeface="Wingdings" pitchFamily="2" charset="2"/>
              </a:rPr>
              <a:t>One-to-One relationship </a:t>
            </a:r>
            <a:r>
              <a:rPr lang="en-US" dirty="0">
                <a:latin typeface="Tw Cen MT" pitchFamily="34" charset="0"/>
                <a:sym typeface="Wingdings" pitchFamily="2" charset="2"/>
              </a:rPr>
              <a:t>between SOB </a:t>
            </a:r>
            <a:br>
              <a:rPr lang="en-US" dirty="0">
                <a:latin typeface="Tw Cen MT" pitchFamily="34" charset="0"/>
                <a:sym typeface="Wingdings" pitchFamily="2" charset="2"/>
              </a:rPr>
            </a:br>
            <a:r>
              <a:rPr lang="en-US" dirty="0">
                <a:latin typeface="Tw Cen MT" pitchFamily="34" charset="0"/>
                <a:sym typeface="Wingdings" pitchFamily="2" charset="2"/>
              </a:rPr>
              <a:t>and CMM</a:t>
            </a:r>
            <a:endParaRPr lang="en-US" dirty="0">
              <a:latin typeface="Tw Cen MT" pitchFamily="34" charset="0"/>
              <a:sym typeface="Wingdings" pitchFamily="2" charset="2"/>
            </a:endParaRPr>
          </a:p>
          <a:p>
            <a:pPr marL="457200" indent="-457200">
              <a:spcBef>
                <a:spcPts val="1800"/>
              </a:spcBef>
              <a:buFont typeface="Times New Roman" pitchFamily="18" charset="0"/>
              <a:buChar char="•"/>
              <a:defRPr/>
            </a:pPr>
            <a:r>
              <a:rPr lang="en-US" b="1" dirty="0">
                <a:solidFill>
                  <a:schemeClr val="bg2">
                    <a:lumMod val="50000"/>
                  </a:schemeClr>
                </a:solidFill>
                <a:latin typeface="Tw Cen MT" pitchFamily="34" charset="0"/>
                <a:sym typeface="Wingdings" pitchFamily="2" charset="2"/>
              </a:rPr>
              <a:t>Objective</a:t>
            </a:r>
            <a:r>
              <a:rPr lang="en-US" dirty="0">
                <a:latin typeface="Tw Cen MT" pitchFamily="34" charset="0"/>
                <a:sym typeface="Wingdings" pitchFamily="2" charset="2"/>
              </a:rPr>
              <a:t>: Pooling of intraday liquidity to maximize economic benefit in capacity allocation</a:t>
            </a:r>
          </a:p>
        </p:txBody>
      </p:sp>
      <p:grpSp>
        <p:nvGrpSpPr>
          <p:cNvPr id="25603" name="Group 20"/>
          <p:cNvGrpSpPr>
            <a:grpSpLocks/>
          </p:cNvGrpSpPr>
          <p:nvPr/>
        </p:nvGrpSpPr>
        <p:grpSpPr bwMode="auto">
          <a:xfrm>
            <a:off x="5784850" y="2638425"/>
            <a:ext cx="3165475" cy="2230438"/>
            <a:chOff x="3310" y="144"/>
            <a:chExt cx="2253" cy="1496"/>
          </a:xfrm>
        </p:grpSpPr>
        <p:sp>
          <p:nvSpPr>
            <p:cNvPr id="25604" name="AutoShape 21"/>
            <p:cNvSpPr>
              <a:spLocks noChangeArrowheads="1"/>
            </p:cNvSpPr>
            <p:nvPr/>
          </p:nvSpPr>
          <p:spPr bwMode="auto">
            <a:xfrm>
              <a:off x="3894" y="703"/>
              <a:ext cx="1202" cy="181"/>
            </a:xfrm>
            <a:prstGeom prst="roundRect">
              <a:avLst>
                <a:gd name="adj" fmla="val 16667"/>
              </a:avLst>
            </a:prstGeom>
            <a:solidFill>
              <a:srgbClr val="008080"/>
            </a:solidFill>
            <a:ln w="9525">
              <a:solidFill>
                <a:srgbClr val="003085"/>
              </a:solidFill>
              <a:round/>
              <a:headEnd/>
              <a:tailEnd/>
            </a:ln>
          </p:spPr>
          <p:txBody>
            <a:bodyPr wrap="none" anchor="ctr"/>
            <a:lstStyle/>
            <a:p>
              <a:pPr algn="ctr"/>
              <a:r>
                <a:rPr lang="en-GB" sz="1400">
                  <a:solidFill>
                    <a:srgbClr val="FFFFFF"/>
                  </a:solidFill>
                </a:rPr>
                <a:t>SOBF</a:t>
              </a:r>
            </a:p>
          </p:txBody>
        </p:sp>
        <p:sp>
          <p:nvSpPr>
            <p:cNvPr id="25605" name="AutoShape 22"/>
            <p:cNvSpPr>
              <a:spLocks noChangeArrowheads="1"/>
            </p:cNvSpPr>
            <p:nvPr/>
          </p:nvSpPr>
          <p:spPr bwMode="auto">
            <a:xfrm>
              <a:off x="3916" y="1119"/>
              <a:ext cx="1180" cy="181"/>
            </a:xfrm>
            <a:prstGeom prst="roundRect">
              <a:avLst>
                <a:gd name="adj" fmla="val 16667"/>
              </a:avLst>
            </a:prstGeom>
            <a:solidFill>
              <a:srgbClr val="008080"/>
            </a:solidFill>
            <a:ln w="9525">
              <a:solidFill>
                <a:srgbClr val="003085"/>
              </a:solidFill>
              <a:round/>
              <a:headEnd/>
              <a:tailEnd/>
            </a:ln>
          </p:spPr>
          <p:txBody>
            <a:bodyPr wrap="none" anchor="ctr"/>
            <a:lstStyle/>
            <a:p>
              <a:pPr algn="ctr"/>
              <a:r>
                <a:rPr lang="en-GB" sz="1400">
                  <a:solidFill>
                    <a:srgbClr val="FFFFFF"/>
                  </a:solidFill>
                </a:rPr>
                <a:t>CMM</a:t>
              </a:r>
            </a:p>
          </p:txBody>
        </p:sp>
        <p:sp>
          <p:nvSpPr>
            <p:cNvPr id="25606" name="Oval 23"/>
            <p:cNvSpPr>
              <a:spLocks noChangeArrowheads="1"/>
            </p:cNvSpPr>
            <p:nvPr/>
          </p:nvSpPr>
          <p:spPr bwMode="auto">
            <a:xfrm>
              <a:off x="3310" y="144"/>
              <a:ext cx="518" cy="181"/>
            </a:xfrm>
            <a:prstGeom prst="ellipse">
              <a:avLst/>
            </a:prstGeom>
            <a:noFill/>
            <a:ln w="9525">
              <a:solidFill>
                <a:srgbClr val="003085"/>
              </a:solidFill>
              <a:round/>
              <a:headEnd/>
              <a:tailEnd/>
            </a:ln>
          </p:spPr>
          <p:txBody>
            <a:bodyPr wrap="none" anchor="ctr"/>
            <a:lstStyle/>
            <a:p>
              <a:pPr algn="ctr"/>
              <a:r>
                <a:rPr lang="en-GB" sz="1000">
                  <a:solidFill>
                    <a:srgbClr val="003085"/>
                  </a:solidFill>
                </a:rPr>
                <a:t>Member X</a:t>
              </a:r>
            </a:p>
          </p:txBody>
        </p:sp>
        <p:sp>
          <p:nvSpPr>
            <p:cNvPr id="25607" name="Oval 24"/>
            <p:cNvSpPr>
              <a:spLocks noChangeArrowheads="1"/>
            </p:cNvSpPr>
            <p:nvPr/>
          </p:nvSpPr>
          <p:spPr bwMode="auto">
            <a:xfrm>
              <a:off x="5042" y="144"/>
              <a:ext cx="521" cy="181"/>
            </a:xfrm>
            <a:prstGeom prst="ellipse">
              <a:avLst/>
            </a:prstGeom>
            <a:noFill/>
            <a:ln w="9525">
              <a:solidFill>
                <a:srgbClr val="003085"/>
              </a:solidFill>
              <a:round/>
              <a:headEnd/>
              <a:tailEnd/>
            </a:ln>
          </p:spPr>
          <p:txBody>
            <a:bodyPr wrap="none" anchor="ctr"/>
            <a:lstStyle/>
            <a:p>
              <a:pPr algn="ctr"/>
              <a:r>
                <a:rPr lang="en-GB" sz="1000">
                  <a:solidFill>
                    <a:srgbClr val="003085"/>
                  </a:solidFill>
                </a:rPr>
                <a:t>Member Y</a:t>
              </a:r>
            </a:p>
          </p:txBody>
        </p:sp>
        <p:sp>
          <p:nvSpPr>
            <p:cNvPr id="25608" name="AutoShape 25"/>
            <p:cNvSpPr>
              <a:spLocks noChangeArrowheads="1"/>
            </p:cNvSpPr>
            <p:nvPr/>
          </p:nvSpPr>
          <p:spPr bwMode="auto">
            <a:xfrm>
              <a:off x="4460" y="892"/>
              <a:ext cx="91" cy="227"/>
            </a:xfrm>
            <a:prstGeom prst="upDownArrow">
              <a:avLst>
                <a:gd name="adj1" fmla="val 50000"/>
                <a:gd name="adj2" fmla="val 49890"/>
              </a:avLst>
            </a:prstGeom>
            <a:solidFill>
              <a:srgbClr val="003085"/>
            </a:solidFill>
            <a:ln w="9525">
              <a:solidFill>
                <a:srgbClr val="003085"/>
              </a:solidFill>
              <a:miter lim="800000"/>
              <a:headEnd/>
              <a:tailEnd/>
            </a:ln>
          </p:spPr>
          <p:txBody>
            <a:bodyPr wrap="none" anchor="ctr"/>
            <a:lstStyle/>
            <a:p>
              <a:endParaRPr lang="de-DE"/>
            </a:p>
          </p:txBody>
        </p:sp>
        <p:sp>
          <p:nvSpPr>
            <p:cNvPr id="25609" name="Rectangle 26"/>
            <p:cNvSpPr>
              <a:spLocks noChangeArrowheads="1"/>
            </p:cNvSpPr>
            <p:nvPr/>
          </p:nvSpPr>
          <p:spPr bwMode="auto">
            <a:xfrm>
              <a:off x="3894" y="363"/>
              <a:ext cx="590" cy="227"/>
            </a:xfrm>
            <a:prstGeom prst="rect">
              <a:avLst/>
            </a:prstGeom>
            <a:noFill/>
            <a:ln w="9525">
              <a:solidFill>
                <a:srgbClr val="003085"/>
              </a:solidFill>
              <a:miter lim="800000"/>
              <a:headEnd/>
              <a:tailEnd/>
            </a:ln>
          </p:spPr>
          <p:txBody>
            <a:bodyPr wrap="none" anchor="ctr"/>
            <a:lstStyle/>
            <a:p>
              <a:pPr algn="ctr"/>
              <a:r>
                <a:rPr lang="en-GB" sz="1000">
                  <a:solidFill>
                    <a:srgbClr val="003085"/>
                  </a:solidFill>
                </a:rPr>
                <a:t>Local Order </a:t>
              </a:r>
              <a:br>
                <a:rPr lang="en-GB" sz="1000">
                  <a:solidFill>
                    <a:srgbClr val="003085"/>
                  </a:solidFill>
                </a:rPr>
              </a:br>
              <a:r>
                <a:rPr lang="en-GB" sz="1000">
                  <a:solidFill>
                    <a:srgbClr val="003085"/>
                  </a:solidFill>
                </a:rPr>
                <a:t>Book A</a:t>
              </a:r>
            </a:p>
          </p:txBody>
        </p:sp>
        <p:sp>
          <p:nvSpPr>
            <p:cNvPr id="25610" name="Rectangle 27"/>
            <p:cNvSpPr>
              <a:spLocks noChangeArrowheads="1"/>
            </p:cNvSpPr>
            <p:nvPr/>
          </p:nvSpPr>
          <p:spPr bwMode="auto">
            <a:xfrm>
              <a:off x="4506" y="363"/>
              <a:ext cx="590" cy="227"/>
            </a:xfrm>
            <a:prstGeom prst="rect">
              <a:avLst/>
            </a:prstGeom>
            <a:noFill/>
            <a:ln w="9525">
              <a:solidFill>
                <a:srgbClr val="003085"/>
              </a:solidFill>
              <a:miter lim="800000"/>
              <a:headEnd/>
              <a:tailEnd/>
            </a:ln>
          </p:spPr>
          <p:txBody>
            <a:bodyPr wrap="none" anchor="ctr"/>
            <a:lstStyle/>
            <a:p>
              <a:pPr algn="ctr"/>
              <a:r>
                <a:rPr lang="en-GB" sz="1000">
                  <a:solidFill>
                    <a:srgbClr val="003085"/>
                  </a:solidFill>
                </a:rPr>
                <a:t>Local Order </a:t>
              </a:r>
              <a:br>
                <a:rPr lang="en-GB" sz="1000">
                  <a:solidFill>
                    <a:srgbClr val="003085"/>
                  </a:solidFill>
                </a:rPr>
              </a:br>
              <a:r>
                <a:rPr lang="en-GB" sz="1000">
                  <a:solidFill>
                    <a:srgbClr val="003085"/>
                  </a:solidFill>
                </a:rPr>
                <a:t>Book A</a:t>
              </a:r>
            </a:p>
          </p:txBody>
        </p:sp>
        <p:cxnSp>
          <p:nvCxnSpPr>
            <p:cNvPr id="25611" name="AutoShape 28"/>
            <p:cNvCxnSpPr>
              <a:cxnSpLocks noChangeShapeType="1"/>
              <a:stCxn id="25606" idx="6"/>
              <a:endCxn id="25609" idx="0"/>
            </p:cNvCxnSpPr>
            <p:nvPr/>
          </p:nvCxnSpPr>
          <p:spPr bwMode="auto">
            <a:xfrm>
              <a:off x="3828" y="235"/>
              <a:ext cx="361" cy="128"/>
            </a:xfrm>
            <a:prstGeom prst="bentConnector2">
              <a:avLst/>
            </a:prstGeom>
            <a:noFill/>
            <a:ln w="9525">
              <a:solidFill>
                <a:srgbClr val="003085"/>
              </a:solidFill>
              <a:miter lim="800000"/>
              <a:headEnd type="triangle" w="med" len="med"/>
              <a:tailEnd type="triangle" w="med" len="med"/>
            </a:ln>
          </p:spPr>
        </p:cxnSp>
        <p:cxnSp>
          <p:nvCxnSpPr>
            <p:cNvPr id="25612" name="AutoShape 29"/>
            <p:cNvCxnSpPr>
              <a:cxnSpLocks noChangeShapeType="1"/>
              <a:stCxn id="25607" idx="2"/>
              <a:endCxn id="25610" idx="0"/>
            </p:cNvCxnSpPr>
            <p:nvPr/>
          </p:nvCxnSpPr>
          <p:spPr bwMode="auto">
            <a:xfrm rot="10800000" flipV="1">
              <a:off x="4801" y="235"/>
              <a:ext cx="241" cy="128"/>
            </a:xfrm>
            <a:prstGeom prst="bentConnector2">
              <a:avLst/>
            </a:prstGeom>
            <a:noFill/>
            <a:ln w="9525">
              <a:solidFill>
                <a:srgbClr val="003085"/>
              </a:solidFill>
              <a:miter lim="800000"/>
              <a:headEnd type="triangle" w="med" len="med"/>
              <a:tailEnd type="triangle" w="med" len="med"/>
            </a:ln>
          </p:spPr>
        </p:cxnSp>
        <p:sp>
          <p:nvSpPr>
            <p:cNvPr id="25613" name="AutoShape 30"/>
            <p:cNvSpPr>
              <a:spLocks noChangeArrowheads="1"/>
            </p:cNvSpPr>
            <p:nvPr/>
          </p:nvSpPr>
          <p:spPr bwMode="auto">
            <a:xfrm>
              <a:off x="4189" y="590"/>
              <a:ext cx="44" cy="113"/>
            </a:xfrm>
            <a:prstGeom prst="upDownArrow">
              <a:avLst>
                <a:gd name="adj1" fmla="val 50000"/>
                <a:gd name="adj2" fmla="val 51364"/>
              </a:avLst>
            </a:prstGeom>
            <a:noFill/>
            <a:ln w="9525">
              <a:solidFill>
                <a:srgbClr val="003085"/>
              </a:solidFill>
              <a:miter lim="800000"/>
              <a:headEnd/>
              <a:tailEnd/>
            </a:ln>
          </p:spPr>
          <p:txBody>
            <a:bodyPr wrap="none" anchor="ctr"/>
            <a:lstStyle/>
            <a:p>
              <a:endParaRPr lang="de-DE"/>
            </a:p>
          </p:txBody>
        </p:sp>
        <p:sp>
          <p:nvSpPr>
            <p:cNvPr id="25614" name="AutoShape 31"/>
            <p:cNvSpPr>
              <a:spLocks noChangeArrowheads="1"/>
            </p:cNvSpPr>
            <p:nvPr/>
          </p:nvSpPr>
          <p:spPr bwMode="auto">
            <a:xfrm>
              <a:off x="4757" y="590"/>
              <a:ext cx="44" cy="113"/>
            </a:xfrm>
            <a:prstGeom prst="upDownArrow">
              <a:avLst>
                <a:gd name="adj1" fmla="val 50000"/>
                <a:gd name="adj2" fmla="val 51364"/>
              </a:avLst>
            </a:prstGeom>
            <a:noFill/>
            <a:ln w="9525">
              <a:solidFill>
                <a:srgbClr val="003085"/>
              </a:solidFill>
              <a:miter lim="800000"/>
              <a:headEnd/>
              <a:tailEnd/>
            </a:ln>
          </p:spPr>
          <p:txBody>
            <a:bodyPr wrap="none" anchor="ctr"/>
            <a:lstStyle/>
            <a:p>
              <a:endParaRPr lang="de-DE"/>
            </a:p>
          </p:txBody>
        </p:sp>
        <p:sp>
          <p:nvSpPr>
            <p:cNvPr id="25615" name="Rectangle 32"/>
            <p:cNvSpPr>
              <a:spLocks noChangeArrowheads="1"/>
            </p:cNvSpPr>
            <p:nvPr/>
          </p:nvSpPr>
          <p:spPr bwMode="auto">
            <a:xfrm>
              <a:off x="3916" y="1413"/>
              <a:ext cx="590" cy="227"/>
            </a:xfrm>
            <a:prstGeom prst="rect">
              <a:avLst/>
            </a:prstGeom>
            <a:noFill/>
            <a:ln w="9525">
              <a:solidFill>
                <a:srgbClr val="003085"/>
              </a:solidFill>
              <a:miter lim="800000"/>
              <a:headEnd/>
              <a:tailEnd/>
            </a:ln>
          </p:spPr>
          <p:txBody>
            <a:bodyPr wrap="none" anchor="ctr"/>
            <a:lstStyle/>
            <a:p>
              <a:pPr algn="ctr"/>
              <a:r>
                <a:rPr lang="en-GB" sz="1000">
                  <a:solidFill>
                    <a:srgbClr val="003085"/>
                  </a:solidFill>
                </a:rPr>
                <a:t>TSO A</a:t>
              </a:r>
            </a:p>
          </p:txBody>
        </p:sp>
        <p:sp>
          <p:nvSpPr>
            <p:cNvPr id="25616" name="Rectangle 33"/>
            <p:cNvSpPr>
              <a:spLocks noChangeArrowheads="1"/>
            </p:cNvSpPr>
            <p:nvPr/>
          </p:nvSpPr>
          <p:spPr bwMode="auto">
            <a:xfrm>
              <a:off x="4551" y="1413"/>
              <a:ext cx="590" cy="227"/>
            </a:xfrm>
            <a:prstGeom prst="rect">
              <a:avLst/>
            </a:prstGeom>
            <a:noFill/>
            <a:ln w="9525">
              <a:solidFill>
                <a:srgbClr val="003085"/>
              </a:solidFill>
              <a:miter lim="800000"/>
              <a:headEnd/>
              <a:tailEnd/>
            </a:ln>
          </p:spPr>
          <p:txBody>
            <a:bodyPr wrap="none" anchor="ctr"/>
            <a:lstStyle/>
            <a:p>
              <a:pPr algn="ctr"/>
              <a:r>
                <a:rPr lang="en-GB" sz="1000">
                  <a:solidFill>
                    <a:srgbClr val="003085"/>
                  </a:solidFill>
                </a:rPr>
                <a:t>TSO B</a:t>
              </a:r>
            </a:p>
          </p:txBody>
        </p:sp>
        <p:sp>
          <p:nvSpPr>
            <p:cNvPr id="25617" name="AutoShape 34"/>
            <p:cNvSpPr>
              <a:spLocks noChangeArrowheads="1"/>
            </p:cNvSpPr>
            <p:nvPr/>
          </p:nvSpPr>
          <p:spPr bwMode="auto">
            <a:xfrm>
              <a:off x="4211" y="1300"/>
              <a:ext cx="44" cy="113"/>
            </a:xfrm>
            <a:prstGeom prst="upDownArrow">
              <a:avLst>
                <a:gd name="adj1" fmla="val 50000"/>
                <a:gd name="adj2" fmla="val 51364"/>
              </a:avLst>
            </a:prstGeom>
            <a:noFill/>
            <a:ln w="9525">
              <a:solidFill>
                <a:srgbClr val="003085"/>
              </a:solidFill>
              <a:miter lim="800000"/>
              <a:headEnd/>
              <a:tailEnd/>
            </a:ln>
          </p:spPr>
          <p:txBody>
            <a:bodyPr wrap="none" anchor="ctr"/>
            <a:lstStyle/>
            <a:p>
              <a:endParaRPr lang="de-DE"/>
            </a:p>
          </p:txBody>
        </p:sp>
        <p:sp>
          <p:nvSpPr>
            <p:cNvPr id="25618" name="AutoShape 35"/>
            <p:cNvSpPr>
              <a:spLocks noChangeArrowheads="1"/>
            </p:cNvSpPr>
            <p:nvPr/>
          </p:nvSpPr>
          <p:spPr bwMode="auto">
            <a:xfrm>
              <a:off x="4801" y="1300"/>
              <a:ext cx="44" cy="113"/>
            </a:xfrm>
            <a:prstGeom prst="upDownArrow">
              <a:avLst>
                <a:gd name="adj1" fmla="val 50000"/>
                <a:gd name="adj2" fmla="val 51364"/>
              </a:avLst>
            </a:prstGeom>
            <a:noFill/>
            <a:ln w="9525">
              <a:solidFill>
                <a:srgbClr val="003085"/>
              </a:solidFill>
              <a:miter lim="800000"/>
              <a:headEnd/>
              <a:tailEnd/>
            </a:ln>
          </p:spPr>
          <p:txBody>
            <a:bodyPr wrap="none" anchor="ctr"/>
            <a:lstStyle/>
            <a:p>
              <a:endParaRPr lang="de-DE"/>
            </a:p>
          </p:txBody>
        </p:sp>
      </p:gr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Titre 1"/>
          <p:cNvSpPr>
            <a:spLocks/>
          </p:cNvSpPr>
          <p:nvPr/>
        </p:nvSpPr>
        <p:spPr bwMode="auto">
          <a:xfrm>
            <a:off x="1619250" y="476250"/>
            <a:ext cx="7129463" cy="1143000"/>
          </a:xfrm>
          <a:prstGeom prst="rect">
            <a:avLst/>
          </a:prstGeom>
          <a:noFill/>
          <a:ln w="9525">
            <a:noFill/>
            <a:miter lim="800000"/>
            <a:headEnd/>
            <a:tailEnd/>
          </a:ln>
        </p:spPr>
        <p:txBody>
          <a:bodyPr anchor="b"/>
          <a:lstStyle/>
          <a:p>
            <a:pPr eaLnBrk="0" hangingPunct="0"/>
            <a:r>
              <a:rPr lang="fr-FR" sz="3200" b="1" dirty="0">
                <a:solidFill>
                  <a:srgbClr val="7F7F7F"/>
                </a:solidFill>
                <a:latin typeface="Tw Cen MT" pitchFamily="34" charset="0"/>
              </a:rPr>
              <a:t>2. Introduction</a:t>
            </a:r>
            <a:endParaRPr lang="fr-FR" sz="2400" b="1" i="1" dirty="0">
              <a:solidFill>
                <a:srgbClr val="7F7F7F"/>
              </a:solidFill>
              <a:latin typeface="Tw Cen MT" pitchFamily="34" charset="0"/>
            </a:endParaRPr>
          </a:p>
        </p:txBody>
      </p:sp>
      <p:sp>
        <p:nvSpPr>
          <p:cNvPr id="13315" name="Suorakulmio 3"/>
          <p:cNvSpPr>
            <a:spLocks noChangeArrowheads="1"/>
          </p:cNvSpPr>
          <p:nvPr/>
        </p:nvSpPr>
        <p:spPr bwMode="auto">
          <a:xfrm>
            <a:off x="395288" y="1772816"/>
            <a:ext cx="8353425" cy="4524315"/>
          </a:xfrm>
          <a:prstGeom prst="rect">
            <a:avLst/>
          </a:prstGeom>
          <a:noFill/>
          <a:ln>
            <a:noFill/>
          </a:ln>
          <a:extLst/>
        </p:spPr>
        <p:txBody>
          <a:bodyPr>
            <a:spAutoFit/>
          </a:bodyPr>
          <a:lstStyle/>
          <a:p>
            <a:pPr>
              <a:spcBef>
                <a:spcPts val="0"/>
              </a:spcBef>
            </a:pPr>
            <a:r>
              <a:rPr lang="en-US" sz="1600" dirty="0">
                <a:latin typeface="Tw Cen MT" pitchFamily="34" charset="0"/>
                <a:sym typeface="Wingdings" pitchFamily="2" charset="2"/>
              </a:rPr>
              <a:t>There are a number of aspects to the further development of cross-border </a:t>
            </a:r>
            <a:r>
              <a:rPr lang="en-US" sz="1600" dirty="0" smtClean="0">
                <a:latin typeface="Tw Cen MT" pitchFamily="34" charset="0"/>
                <a:sym typeface="Wingdings" pitchFamily="2" charset="2"/>
              </a:rPr>
              <a:t>Intraday</a:t>
            </a:r>
            <a:endParaRPr lang="en-US" sz="1600" dirty="0">
              <a:latin typeface="Tw Cen MT" pitchFamily="34" charset="0"/>
              <a:sym typeface="Wingdings" pitchFamily="2" charset="2"/>
            </a:endParaRPr>
          </a:p>
          <a:p>
            <a:pPr marL="185738" indent="-185738">
              <a:spcBef>
                <a:spcPts val="0"/>
              </a:spcBef>
              <a:buFont typeface="Times New Roman" pitchFamily="18" charset="0"/>
              <a:buChar char="•"/>
            </a:pPr>
            <a:r>
              <a:rPr lang="en-US" sz="1600" dirty="0">
                <a:latin typeface="Tw Cen MT" pitchFamily="34" charset="0"/>
                <a:sym typeface="Wingdings" pitchFamily="2" charset="2"/>
              </a:rPr>
              <a:t>Rapid implementation of an interim solution</a:t>
            </a:r>
          </a:p>
          <a:p>
            <a:pPr marL="714375" lvl="1" indent="-257175">
              <a:spcBef>
                <a:spcPts val="0"/>
              </a:spcBef>
              <a:buFont typeface="Times New Roman" pitchFamily="18" charset="0"/>
              <a:buChar char="•"/>
            </a:pPr>
            <a:r>
              <a:rPr lang="en-US" sz="1600" dirty="0">
                <a:latin typeface="Tw Cen MT" pitchFamily="34" charset="0"/>
                <a:sym typeface="Wingdings" pitchFamily="2" charset="2"/>
              </a:rPr>
              <a:t>Support to </a:t>
            </a:r>
            <a:r>
              <a:rPr lang="en-US" sz="1600" dirty="0" err="1">
                <a:latin typeface="Tw Cen MT" pitchFamily="34" charset="0"/>
                <a:sym typeface="Wingdings" pitchFamily="2" charset="2"/>
              </a:rPr>
              <a:t>Elbas</a:t>
            </a:r>
            <a:r>
              <a:rPr lang="en-US" sz="1600" dirty="0">
                <a:latin typeface="Tw Cen MT" pitchFamily="34" charset="0"/>
                <a:sym typeface="Wingdings" pitchFamily="2" charset="2"/>
              </a:rPr>
              <a:t>-like solution for SOB/CMM </a:t>
            </a:r>
          </a:p>
          <a:p>
            <a:pPr marL="714375" lvl="1" indent="-257175">
              <a:spcBef>
                <a:spcPts val="0"/>
              </a:spcBef>
              <a:buFont typeface="Times New Roman" pitchFamily="18" charset="0"/>
              <a:buChar char="•"/>
            </a:pPr>
            <a:r>
              <a:rPr lang="en-US" sz="1600" dirty="0">
                <a:latin typeface="Tw Cen MT" pitchFamily="34" charset="0"/>
                <a:sym typeface="Wingdings" pitchFamily="2" charset="2"/>
              </a:rPr>
              <a:t>Aim to cover at least NWE by end 2012, if feasible, but open to other Regions if ready</a:t>
            </a:r>
          </a:p>
          <a:p>
            <a:pPr marL="714375" lvl="1" indent="-257175">
              <a:spcBef>
                <a:spcPts val="0"/>
              </a:spcBef>
              <a:buFont typeface="Times New Roman" pitchFamily="18" charset="0"/>
              <a:buChar char="•"/>
            </a:pPr>
            <a:r>
              <a:rPr lang="en-US" sz="1600" dirty="0">
                <a:latin typeface="Tw Cen MT" pitchFamily="34" charset="0"/>
                <a:sym typeface="Wingdings" pitchFamily="2" charset="2"/>
              </a:rPr>
              <a:t>Strong involvement of other regions and countries (e.g. TSOs Monitoring group)</a:t>
            </a:r>
          </a:p>
          <a:p>
            <a:pPr lvl="1">
              <a:spcBef>
                <a:spcPts val="0"/>
              </a:spcBef>
            </a:pPr>
            <a:endParaRPr lang="en-US" sz="1600" dirty="0" smtClean="0">
              <a:latin typeface="Tw Cen MT" pitchFamily="34" charset="0"/>
              <a:sym typeface="Wingdings" pitchFamily="2" charset="2"/>
            </a:endParaRPr>
          </a:p>
          <a:p>
            <a:pPr marL="185738" indent="-185738">
              <a:spcBef>
                <a:spcPts val="0"/>
              </a:spcBef>
              <a:buFont typeface="Times New Roman" pitchFamily="18" charset="0"/>
              <a:buChar char="•"/>
            </a:pPr>
            <a:r>
              <a:rPr lang="en-US" sz="1600" dirty="0" smtClean="0">
                <a:latin typeface="Tw Cen MT" pitchFamily="34" charset="0"/>
                <a:sym typeface="Wingdings" pitchFamily="2" charset="2"/>
              </a:rPr>
              <a:t>Design </a:t>
            </a:r>
            <a:r>
              <a:rPr lang="en-US" sz="1600" dirty="0">
                <a:latin typeface="Tw Cen MT" pitchFamily="34" charset="0"/>
                <a:sym typeface="Wingdings" pitchFamily="2" charset="2"/>
              </a:rPr>
              <a:t>and implementation of Target Model</a:t>
            </a:r>
          </a:p>
          <a:p>
            <a:pPr marL="714375" lvl="1" indent="-257175">
              <a:spcBef>
                <a:spcPts val="0"/>
              </a:spcBef>
              <a:buFont typeface="Times New Roman" pitchFamily="18" charset="0"/>
              <a:buChar char="•"/>
            </a:pPr>
            <a:r>
              <a:rPr lang="en-US" sz="1600" dirty="0">
                <a:latin typeface="Tw Cen MT" pitchFamily="34" charset="0"/>
                <a:sym typeface="Wingdings" pitchFamily="2" charset="2"/>
              </a:rPr>
              <a:t>Target end of 2014 launch</a:t>
            </a:r>
          </a:p>
          <a:p>
            <a:pPr marL="714375" lvl="1" indent="-257175">
              <a:spcBef>
                <a:spcPts val="0"/>
              </a:spcBef>
              <a:buFont typeface="Times New Roman" pitchFamily="18" charset="0"/>
              <a:buChar char="•"/>
            </a:pPr>
            <a:r>
              <a:rPr lang="en-US" sz="1600" dirty="0" smtClean="0">
                <a:latin typeface="Tw Cen MT" pitchFamily="34" charset="0"/>
                <a:sym typeface="Wingdings" pitchFamily="2" charset="2"/>
              </a:rPr>
              <a:t>Finalize </a:t>
            </a:r>
            <a:r>
              <a:rPr lang="en-US" sz="1600" dirty="0">
                <a:latin typeface="Tw Cen MT" pitchFamily="34" charset="0"/>
                <a:sym typeface="Wingdings" pitchFamily="2" charset="2"/>
              </a:rPr>
              <a:t>requirements, with the participation of relevant </a:t>
            </a:r>
            <a:r>
              <a:rPr lang="en-US" sz="1600" dirty="0" smtClean="0">
                <a:latin typeface="Tw Cen MT" pitchFamily="34" charset="0"/>
                <a:sym typeface="Wingdings" pitchFamily="2" charset="2"/>
              </a:rPr>
              <a:t>stakeholders:</a:t>
            </a:r>
            <a:endParaRPr lang="en-US" sz="1600" dirty="0">
              <a:solidFill>
                <a:srgbClr val="FF3300"/>
              </a:solidFill>
              <a:latin typeface="Tw Cen MT" pitchFamily="34" charset="0"/>
              <a:sym typeface="Wingdings" pitchFamily="2" charset="2"/>
            </a:endParaRPr>
          </a:p>
          <a:p>
            <a:pPr marL="1200150" lvl="2" indent="-285750">
              <a:spcBef>
                <a:spcPts val="0"/>
              </a:spcBef>
              <a:buFont typeface="Symbol" pitchFamily="18" charset="2"/>
              <a:buChar char="-"/>
            </a:pPr>
            <a:r>
              <a:rPr lang="en-US" sz="1600" dirty="0">
                <a:latin typeface="Tw Cen MT" pitchFamily="34" charset="0"/>
                <a:sym typeface="Wingdings" pitchFamily="2" charset="2"/>
              </a:rPr>
              <a:t>reliable pricing of intraday transmission capacity reflecting congestion</a:t>
            </a:r>
            <a:endParaRPr lang="fr-BE" sz="1600" dirty="0">
              <a:latin typeface="Tw Cen MT" pitchFamily="34" charset="0"/>
              <a:sym typeface="Wingdings" pitchFamily="2" charset="2"/>
            </a:endParaRPr>
          </a:p>
          <a:p>
            <a:pPr marL="1200150" lvl="2" indent="-285750">
              <a:spcBef>
                <a:spcPts val="0"/>
              </a:spcBef>
              <a:buFont typeface="Symbol" pitchFamily="18" charset="2"/>
              <a:buChar char="-"/>
            </a:pPr>
            <a:r>
              <a:rPr lang="en-US" sz="1600" dirty="0">
                <a:latin typeface="Tw Cen MT" pitchFamily="34" charset="0"/>
                <a:sym typeface="Wingdings" pitchFamily="2" charset="2"/>
              </a:rPr>
              <a:t>automatic matching of all bids, including appropriate block bids</a:t>
            </a:r>
            <a:endParaRPr lang="fr-BE" sz="1600" dirty="0">
              <a:latin typeface="Tw Cen MT" pitchFamily="34" charset="0"/>
              <a:sym typeface="Wingdings" pitchFamily="2" charset="2"/>
            </a:endParaRPr>
          </a:p>
          <a:p>
            <a:pPr marL="1200150" lvl="2" indent="-285750">
              <a:spcBef>
                <a:spcPts val="0"/>
              </a:spcBef>
              <a:buFont typeface="Symbol" pitchFamily="18" charset="2"/>
              <a:buChar char="-"/>
            </a:pPr>
            <a:r>
              <a:rPr lang="fr-BE" sz="1600" dirty="0" err="1">
                <a:latin typeface="Tw Cen MT" pitchFamily="34" charset="0"/>
                <a:sym typeface="Wingdings" pitchFamily="2" charset="2"/>
              </a:rPr>
              <a:t>sophisticated</a:t>
            </a:r>
            <a:r>
              <a:rPr lang="fr-BE" sz="1600" dirty="0">
                <a:latin typeface="Tw Cen MT" pitchFamily="34" charset="0"/>
                <a:sym typeface="Wingdings" pitchFamily="2" charset="2"/>
              </a:rPr>
              <a:t> </a:t>
            </a:r>
            <a:r>
              <a:rPr lang="fr-BE" sz="1600" dirty="0" err="1">
                <a:latin typeface="Tw Cen MT" pitchFamily="34" charset="0"/>
                <a:sym typeface="Wingdings" pitchFamily="2" charset="2"/>
              </a:rPr>
              <a:t>products</a:t>
            </a:r>
            <a:endParaRPr lang="en-US" sz="1600" dirty="0">
              <a:latin typeface="Tw Cen MT" pitchFamily="34" charset="0"/>
              <a:sym typeface="Wingdings" pitchFamily="2" charset="2"/>
            </a:endParaRPr>
          </a:p>
          <a:p>
            <a:pPr>
              <a:spcBef>
                <a:spcPts val="0"/>
              </a:spcBef>
              <a:buFont typeface="Times New Roman" pitchFamily="18" charset="0"/>
              <a:buChar char="•"/>
            </a:pPr>
            <a:endParaRPr lang="en-US" sz="1600" dirty="0" smtClean="0">
              <a:latin typeface="Tw Cen MT" pitchFamily="34" charset="0"/>
              <a:sym typeface="Wingdings" pitchFamily="2" charset="2"/>
            </a:endParaRPr>
          </a:p>
          <a:p>
            <a:pPr marL="185738" indent="-185738">
              <a:spcBef>
                <a:spcPts val="0"/>
              </a:spcBef>
              <a:buFont typeface="Times New Roman" pitchFamily="18" charset="0"/>
              <a:buChar char="•"/>
            </a:pPr>
            <a:r>
              <a:rPr lang="en-US" sz="1600" dirty="0" smtClean="0">
                <a:latin typeface="Tw Cen MT" pitchFamily="34" charset="0"/>
                <a:sym typeface="Wingdings" pitchFamily="2" charset="2"/>
              </a:rPr>
              <a:t>Development </a:t>
            </a:r>
            <a:r>
              <a:rPr lang="en-US" sz="1600" dirty="0">
                <a:latin typeface="Tw Cen MT" pitchFamily="34" charset="0"/>
                <a:sym typeface="Wingdings" pitchFamily="2" charset="2"/>
              </a:rPr>
              <a:t>of the governance </a:t>
            </a:r>
            <a:r>
              <a:rPr lang="en-US" sz="1600" dirty="0" smtClean="0">
                <a:latin typeface="Tw Cen MT" pitchFamily="34" charset="0"/>
                <a:sym typeface="Wingdings" pitchFamily="2" charset="2"/>
              </a:rPr>
              <a:t>framework for interim and enduring solution</a:t>
            </a:r>
            <a:endParaRPr lang="en-US" sz="1600" dirty="0">
              <a:latin typeface="Tw Cen MT" pitchFamily="34" charset="0"/>
              <a:sym typeface="Wingdings" pitchFamily="2" charset="2"/>
            </a:endParaRPr>
          </a:p>
          <a:p>
            <a:pPr marL="714375" lvl="1" indent="-257175">
              <a:spcBef>
                <a:spcPts val="0"/>
              </a:spcBef>
              <a:buFont typeface="Times New Roman" pitchFamily="18" charset="0"/>
              <a:buChar char="•"/>
            </a:pPr>
            <a:r>
              <a:rPr lang="en-US" sz="1600" dirty="0">
                <a:latin typeface="Tw Cen MT" pitchFamily="34" charset="0"/>
                <a:sym typeface="Wingdings" pitchFamily="2" charset="2"/>
              </a:rPr>
              <a:t>Interim solution to be kept simple to avoid delay and reflecting simplicity of the interim solution</a:t>
            </a:r>
          </a:p>
          <a:p>
            <a:pPr marL="714375" lvl="1" indent="-257175">
              <a:spcBef>
                <a:spcPts val="0"/>
              </a:spcBef>
              <a:buFont typeface="Times New Roman" pitchFamily="18" charset="0"/>
              <a:buChar char="•"/>
            </a:pPr>
            <a:r>
              <a:rPr lang="en-US" sz="1600" dirty="0">
                <a:latin typeface="Tw Cen MT" pitchFamily="34" charset="0"/>
                <a:sym typeface="Wingdings" pitchFamily="2" charset="2"/>
              </a:rPr>
              <a:t>Target Model possibly more complex and may be impacted by Governance Guideline (link  to Governance Guideline and to Network Codes still unclear)</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Titre 1"/>
          <p:cNvSpPr>
            <a:spLocks/>
          </p:cNvSpPr>
          <p:nvPr/>
        </p:nvSpPr>
        <p:spPr bwMode="auto">
          <a:xfrm>
            <a:off x="1619250" y="476250"/>
            <a:ext cx="7129463" cy="1143000"/>
          </a:xfrm>
          <a:prstGeom prst="rect">
            <a:avLst/>
          </a:prstGeom>
          <a:noFill/>
          <a:ln w="9525">
            <a:noFill/>
            <a:miter lim="800000"/>
            <a:headEnd/>
            <a:tailEnd/>
          </a:ln>
        </p:spPr>
        <p:txBody>
          <a:bodyPr anchor="b"/>
          <a:lstStyle/>
          <a:p>
            <a:pPr eaLnBrk="0" hangingPunct="0"/>
            <a:r>
              <a:rPr lang="fr-FR" sz="2400" b="1" dirty="0">
                <a:solidFill>
                  <a:srgbClr val="7F7F7F"/>
                </a:solidFill>
                <a:latin typeface="Tw Cen MT" pitchFamily="34" charset="0"/>
              </a:rPr>
              <a:t>3. </a:t>
            </a:r>
            <a:r>
              <a:rPr lang="fr-FR" sz="2400" b="1" dirty="0" err="1">
                <a:solidFill>
                  <a:srgbClr val="7F7F7F"/>
                </a:solidFill>
                <a:latin typeface="Tw Cen MT" pitchFamily="34" charset="0"/>
              </a:rPr>
              <a:t>Technical</a:t>
            </a:r>
            <a:r>
              <a:rPr lang="fr-FR" sz="2400" b="1" dirty="0">
                <a:solidFill>
                  <a:srgbClr val="7F7F7F"/>
                </a:solidFill>
                <a:latin typeface="Tw Cen MT" pitchFamily="34" charset="0"/>
              </a:rPr>
              <a:t> </a:t>
            </a:r>
            <a:r>
              <a:rPr lang="fr-FR" sz="2400" b="1" dirty="0" smtClean="0">
                <a:solidFill>
                  <a:srgbClr val="7F7F7F"/>
                </a:solidFill>
                <a:latin typeface="Tw Cen MT" pitchFamily="34" charset="0"/>
              </a:rPr>
              <a:t>Solution (i)</a:t>
            </a:r>
            <a:endParaRPr lang="fr-FR" sz="2400" b="1" dirty="0">
              <a:solidFill>
                <a:srgbClr val="7F7F7F"/>
              </a:solidFill>
              <a:latin typeface="Tw Cen MT" pitchFamily="34" charset="0"/>
            </a:endParaRPr>
          </a:p>
          <a:p>
            <a:pPr eaLnBrk="0" hangingPunct="0"/>
            <a:r>
              <a:rPr lang="fr-FR" sz="2400" b="1" i="1" dirty="0">
                <a:solidFill>
                  <a:srgbClr val="7F7F7F"/>
                </a:solidFill>
                <a:latin typeface="Tw Cen MT" pitchFamily="34" charset="0"/>
              </a:rPr>
              <a:t>ELBAS</a:t>
            </a:r>
          </a:p>
        </p:txBody>
      </p:sp>
      <p:sp>
        <p:nvSpPr>
          <p:cNvPr id="29698" name="Suorakulmio 3"/>
          <p:cNvSpPr>
            <a:spLocks noChangeArrowheads="1"/>
          </p:cNvSpPr>
          <p:nvPr/>
        </p:nvSpPr>
        <p:spPr bwMode="auto">
          <a:xfrm>
            <a:off x="395288" y="1773238"/>
            <a:ext cx="8353425" cy="4681282"/>
          </a:xfrm>
          <a:prstGeom prst="rect">
            <a:avLst/>
          </a:prstGeom>
          <a:noFill/>
          <a:ln w="9525">
            <a:noFill/>
            <a:miter lim="800000"/>
            <a:headEnd/>
            <a:tailEnd/>
          </a:ln>
        </p:spPr>
        <p:txBody>
          <a:bodyPr>
            <a:spAutoFit/>
          </a:bodyPr>
          <a:lstStyle/>
          <a:p>
            <a:pPr marL="457200" indent="-457200">
              <a:spcBef>
                <a:spcPts val="600"/>
              </a:spcBef>
              <a:buFont typeface="Times New Roman" pitchFamily="18" charset="0"/>
              <a:buChar char="•"/>
            </a:pPr>
            <a:r>
              <a:rPr lang="en-US" dirty="0" smtClean="0">
                <a:latin typeface="Tw Cen MT" pitchFamily="34" charset="0"/>
                <a:sym typeface="Wingdings" pitchFamily="2" charset="2"/>
              </a:rPr>
              <a:t>Integrated SOB-CMM solution</a:t>
            </a:r>
          </a:p>
          <a:p>
            <a:pPr marL="457200" indent="-457200">
              <a:spcBef>
                <a:spcPts val="600"/>
              </a:spcBef>
              <a:buFont typeface="Times New Roman" pitchFamily="18" charset="0"/>
              <a:buChar char="•"/>
            </a:pPr>
            <a:r>
              <a:rPr lang="en-US" dirty="0" smtClean="0">
                <a:latin typeface="Tw Cen MT" pitchFamily="34" charset="0"/>
                <a:sym typeface="Wingdings" pitchFamily="2" charset="2"/>
              </a:rPr>
              <a:t>Platform is used in Nord Pool Spot and APX-Endex ID markets</a:t>
            </a:r>
          </a:p>
          <a:p>
            <a:pPr marL="457200" indent="-457200">
              <a:spcBef>
                <a:spcPts val="600"/>
              </a:spcBef>
              <a:buFont typeface="Times New Roman" pitchFamily="18" charset="0"/>
              <a:buChar char="•"/>
            </a:pPr>
            <a:r>
              <a:rPr lang="en-US" dirty="0" smtClean="0">
                <a:latin typeface="Tw Cen MT" pitchFamily="34" charset="0"/>
                <a:sym typeface="Wingdings" pitchFamily="2" charset="2"/>
              </a:rPr>
              <a:t>Currently operated in </a:t>
            </a:r>
            <a:r>
              <a:rPr lang="en-US" dirty="0">
                <a:latin typeface="Tw Cen MT" pitchFamily="34" charset="0"/>
                <a:sym typeface="Wingdings" pitchFamily="2" charset="2"/>
              </a:rPr>
              <a:t>8</a:t>
            </a:r>
            <a:r>
              <a:rPr lang="en-US" dirty="0" smtClean="0">
                <a:latin typeface="Tw Cen MT" pitchFamily="34" charset="0"/>
                <a:sym typeface="Wingdings" pitchFamily="2" charset="2"/>
              </a:rPr>
              <a:t> countries and in total of 19 market areas</a:t>
            </a:r>
          </a:p>
          <a:p>
            <a:pPr marL="342900" lvl="0" indent="-342900" fontAlgn="t">
              <a:spcBef>
                <a:spcPct val="20000"/>
              </a:spcBef>
              <a:buFontTx/>
              <a:buChar char="•"/>
              <a:defRPr/>
            </a:pPr>
            <a:r>
              <a:rPr lang="fi-FI" kern="0" dirty="0" smtClean="0">
                <a:latin typeface="Tw Cen MT" pitchFamily="34" charset="0"/>
              </a:rPr>
              <a:t>  Includes parameters set up for individual areas. For example:</a:t>
            </a:r>
          </a:p>
          <a:p>
            <a:pPr marL="742950" lvl="1" indent="-285750" fontAlgn="t">
              <a:spcBef>
                <a:spcPct val="20000"/>
              </a:spcBef>
              <a:buFont typeface="Arial" pitchFamily="34" charset="0"/>
              <a:buChar char="•"/>
              <a:defRPr/>
            </a:pPr>
            <a:r>
              <a:rPr lang="fi-FI" sz="1600" kern="0" dirty="0" smtClean="0">
                <a:latin typeface="Tw Cen MT" pitchFamily="34" charset="0"/>
              </a:rPr>
              <a:t>Gate closure per area</a:t>
            </a:r>
          </a:p>
          <a:p>
            <a:pPr marL="742950" lvl="1" indent="-285750" fontAlgn="t">
              <a:spcBef>
                <a:spcPct val="20000"/>
              </a:spcBef>
              <a:buFont typeface="Arial" pitchFamily="34" charset="0"/>
              <a:buChar char="•"/>
              <a:defRPr/>
            </a:pPr>
            <a:r>
              <a:rPr lang="fi-FI" sz="1600" kern="0" dirty="0" smtClean="0">
                <a:latin typeface="Tw Cen MT" pitchFamily="34" charset="0"/>
              </a:rPr>
              <a:t>Trade start time for next day</a:t>
            </a:r>
            <a:endParaRPr lang="en-US" sz="2000" dirty="0" smtClean="0">
              <a:latin typeface="Tw Cen MT" pitchFamily="34" charset="0"/>
              <a:sym typeface="Wingdings" pitchFamily="2" charset="2"/>
            </a:endParaRPr>
          </a:p>
          <a:p>
            <a:pPr marL="457200" indent="-457200">
              <a:spcBef>
                <a:spcPts val="600"/>
              </a:spcBef>
              <a:buFont typeface="Times New Roman" pitchFamily="18" charset="0"/>
              <a:buChar char="•"/>
            </a:pPr>
            <a:r>
              <a:rPr lang="en-US" dirty="0" smtClean="0">
                <a:latin typeface="Tw Cen MT" pitchFamily="34" charset="0"/>
                <a:sym typeface="Wingdings" pitchFamily="2" charset="2"/>
              </a:rPr>
              <a:t>Easy configuration of new market areas, connections and PX’s</a:t>
            </a:r>
          </a:p>
          <a:p>
            <a:pPr marL="457200" indent="-457200">
              <a:spcBef>
                <a:spcPts val="600"/>
              </a:spcBef>
              <a:buFont typeface="Times New Roman" pitchFamily="18" charset="0"/>
              <a:buChar char="•"/>
            </a:pPr>
            <a:r>
              <a:rPr lang="en-US" dirty="0" smtClean="0">
                <a:latin typeface="Tw Cen MT" pitchFamily="34" charset="0"/>
                <a:sym typeface="Wingdings" pitchFamily="2" charset="2"/>
              </a:rPr>
              <a:t>Includes most of the key features for the interim solution </a:t>
            </a:r>
          </a:p>
          <a:p>
            <a:pPr marL="457200" indent="-457200">
              <a:spcBef>
                <a:spcPts val="600"/>
              </a:spcBef>
              <a:buFont typeface="Times New Roman" pitchFamily="18" charset="0"/>
              <a:buChar char="•"/>
            </a:pPr>
            <a:r>
              <a:rPr lang="en-US" dirty="0" smtClean="0">
                <a:latin typeface="Tw Cen MT" pitchFamily="34" charset="0"/>
                <a:sym typeface="Wingdings" pitchFamily="2" charset="2"/>
              </a:rPr>
              <a:t>During 2012 at least following new features are planned to be implemented:</a:t>
            </a:r>
          </a:p>
          <a:p>
            <a:pPr marL="714375" lvl="1" indent="-257175">
              <a:spcBef>
                <a:spcPts val="600"/>
              </a:spcBef>
              <a:buFont typeface="Times New Roman" pitchFamily="18" charset="0"/>
              <a:buChar char="•"/>
            </a:pPr>
            <a:r>
              <a:rPr lang="en-US" sz="1600" dirty="0" smtClean="0">
                <a:latin typeface="Tw Cen MT" pitchFamily="34" charset="0"/>
                <a:sym typeface="Wingdings" pitchFamily="2" charset="2"/>
              </a:rPr>
              <a:t>HUB to HUB matrix presentation</a:t>
            </a:r>
          </a:p>
          <a:p>
            <a:pPr marL="714375" lvl="1" indent="-257175">
              <a:spcBef>
                <a:spcPts val="600"/>
              </a:spcBef>
              <a:buFont typeface="Times New Roman" pitchFamily="18" charset="0"/>
              <a:buChar char="•"/>
            </a:pPr>
            <a:r>
              <a:rPr lang="en-US" sz="1600" dirty="0" smtClean="0">
                <a:latin typeface="Tw Cen MT" pitchFamily="34" charset="0"/>
                <a:sym typeface="Wingdings" pitchFamily="2" charset="2"/>
              </a:rPr>
              <a:t>Explicit ID capacity reservation and allocation</a:t>
            </a:r>
          </a:p>
          <a:p>
            <a:pPr marL="714375" lvl="1" indent="-257175">
              <a:spcBef>
                <a:spcPts val="600"/>
              </a:spcBef>
              <a:buFont typeface="Times New Roman" pitchFamily="18" charset="0"/>
              <a:buChar char="•"/>
            </a:pPr>
            <a:r>
              <a:rPr lang="en-US" sz="1600" dirty="0" smtClean="0">
                <a:latin typeface="Tw Cen MT" pitchFamily="34" charset="0"/>
                <a:sym typeface="Wingdings" pitchFamily="2" charset="2"/>
              </a:rPr>
              <a:t>API for external PX’s (not using Elbas as the trading system)</a:t>
            </a:r>
          </a:p>
          <a:p>
            <a:pPr marL="457200" indent="-457200">
              <a:spcBef>
                <a:spcPts val="600"/>
              </a:spcBef>
              <a:buFont typeface="Times New Roman" pitchFamily="18" charset="0"/>
              <a:buChar char="•"/>
            </a:pPr>
            <a:r>
              <a:rPr lang="en-US" dirty="0" smtClean="0">
                <a:latin typeface="Tw Cen MT" pitchFamily="34" charset="0"/>
                <a:sym typeface="Wingdings" pitchFamily="2" charset="2"/>
              </a:rPr>
              <a:t>Elbas is the potential system to be developed to become the foundation of the enduring solution</a:t>
            </a:r>
            <a:endParaRPr lang="en-US" dirty="0">
              <a:latin typeface="Tw Cen MT" pitchFamily="34" charset="0"/>
              <a:sym typeface="Wingdings" pitchFamily="2" charset="2"/>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re 1"/>
          <p:cNvSpPr>
            <a:spLocks/>
          </p:cNvSpPr>
          <p:nvPr/>
        </p:nvSpPr>
        <p:spPr bwMode="auto">
          <a:xfrm>
            <a:off x="1619250" y="476250"/>
            <a:ext cx="7129463" cy="1143000"/>
          </a:xfrm>
          <a:prstGeom prst="rect">
            <a:avLst/>
          </a:prstGeom>
          <a:noFill/>
          <a:ln w="9525">
            <a:noFill/>
            <a:miter lim="800000"/>
            <a:headEnd/>
            <a:tailEnd/>
          </a:ln>
        </p:spPr>
        <p:txBody>
          <a:bodyPr anchor="b"/>
          <a:lstStyle/>
          <a:p>
            <a:pPr eaLnBrk="0" hangingPunct="0"/>
            <a:r>
              <a:rPr lang="fr-FR" sz="2400" b="1" dirty="0">
                <a:solidFill>
                  <a:srgbClr val="7F7F7F"/>
                </a:solidFill>
                <a:latin typeface="Tw Cen MT" pitchFamily="34" charset="0"/>
              </a:rPr>
              <a:t>3</a:t>
            </a:r>
            <a:r>
              <a:rPr lang="fr-FR" sz="2400" b="1" dirty="0" smtClean="0">
                <a:solidFill>
                  <a:srgbClr val="7F7F7F"/>
                </a:solidFill>
                <a:latin typeface="Tw Cen MT" pitchFamily="34" charset="0"/>
              </a:rPr>
              <a:t>. </a:t>
            </a:r>
            <a:r>
              <a:rPr lang="fr-FR" sz="2400" b="1" dirty="0" err="1" smtClean="0">
                <a:solidFill>
                  <a:srgbClr val="7F7F7F"/>
                </a:solidFill>
                <a:latin typeface="Tw Cen MT" pitchFamily="34" charset="0"/>
              </a:rPr>
              <a:t>Technical</a:t>
            </a:r>
            <a:r>
              <a:rPr lang="fr-FR" sz="2400" b="1" dirty="0" smtClean="0">
                <a:solidFill>
                  <a:srgbClr val="7F7F7F"/>
                </a:solidFill>
                <a:latin typeface="Tw Cen MT" pitchFamily="34" charset="0"/>
              </a:rPr>
              <a:t> Solution (ii)</a:t>
            </a:r>
          </a:p>
          <a:p>
            <a:pPr eaLnBrk="0" hangingPunct="0"/>
            <a:r>
              <a:rPr lang="fr-FR" sz="2400" b="1" i="1" dirty="0" smtClean="0">
                <a:solidFill>
                  <a:srgbClr val="7F7F7F"/>
                </a:solidFill>
                <a:latin typeface="Tw Cen MT" pitchFamily="34" charset="0"/>
              </a:rPr>
              <a:t>ELBAS-</a:t>
            </a:r>
            <a:r>
              <a:rPr lang="fr-FR" sz="2400" b="1" i="1" dirty="0" err="1" smtClean="0">
                <a:solidFill>
                  <a:srgbClr val="7F7F7F"/>
                </a:solidFill>
                <a:latin typeface="Tw Cen MT" pitchFamily="34" charset="0"/>
              </a:rPr>
              <a:t>like</a:t>
            </a:r>
            <a:r>
              <a:rPr lang="fr-FR" sz="2400" b="1" i="1" dirty="0" smtClean="0">
                <a:solidFill>
                  <a:srgbClr val="7F7F7F"/>
                </a:solidFill>
                <a:latin typeface="Tw Cen MT" pitchFamily="34" charset="0"/>
              </a:rPr>
              <a:t> </a:t>
            </a:r>
            <a:r>
              <a:rPr lang="fr-FR" sz="2400" b="1" i="1" dirty="0" err="1" smtClean="0">
                <a:solidFill>
                  <a:srgbClr val="7F7F7F"/>
                </a:solidFill>
                <a:latin typeface="Tw Cen MT" pitchFamily="34" charset="0"/>
              </a:rPr>
              <a:t>technology</a:t>
            </a:r>
            <a:r>
              <a:rPr lang="fr-FR" sz="2400" b="1" i="1" dirty="0" smtClean="0">
                <a:solidFill>
                  <a:srgbClr val="7F7F7F"/>
                </a:solidFill>
                <a:latin typeface="Tw Cen MT" pitchFamily="34" charset="0"/>
              </a:rPr>
              <a:t> – </a:t>
            </a:r>
            <a:r>
              <a:rPr lang="fr-FR" sz="2400" b="1" i="1" dirty="0" err="1" smtClean="0">
                <a:solidFill>
                  <a:srgbClr val="7F7F7F"/>
                </a:solidFill>
                <a:latin typeface="Tw Cen MT" pitchFamily="34" charset="0"/>
              </a:rPr>
              <a:t>integrated</a:t>
            </a:r>
            <a:r>
              <a:rPr lang="fr-FR" sz="2400" b="1" i="1" dirty="0" smtClean="0">
                <a:solidFill>
                  <a:srgbClr val="7F7F7F"/>
                </a:solidFill>
                <a:latin typeface="Tw Cen MT" pitchFamily="34" charset="0"/>
              </a:rPr>
              <a:t> CMM/SOB </a:t>
            </a:r>
            <a:r>
              <a:rPr lang="fr-FR" sz="2400" b="1" i="1" dirty="0" err="1" smtClean="0">
                <a:solidFill>
                  <a:srgbClr val="7F7F7F"/>
                </a:solidFill>
                <a:latin typeface="Tw Cen MT" pitchFamily="34" charset="0"/>
              </a:rPr>
              <a:t>functions</a:t>
            </a:r>
            <a:r>
              <a:rPr lang="fr-FR" sz="2400" b="1" i="1" dirty="0" smtClean="0">
                <a:solidFill>
                  <a:srgbClr val="7F7F7F"/>
                </a:solidFill>
                <a:latin typeface="Tw Cen MT" pitchFamily="34" charset="0"/>
              </a:rPr>
              <a:t> </a:t>
            </a:r>
            <a:endParaRPr lang="fr-FR" sz="2400" b="1" i="1" dirty="0">
              <a:solidFill>
                <a:srgbClr val="00B050"/>
              </a:solidFill>
              <a:latin typeface="Tw Cen MT" pitchFamily="34" charset="0"/>
            </a:endParaRPr>
          </a:p>
        </p:txBody>
      </p:sp>
      <p:pic>
        <p:nvPicPr>
          <p:cNvPr id="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87624" y="1876490"/>
            <a:ext cx="6445770" cy="3966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feld 13"/>
          <p:cNvSpPr txBox="1"/>
          <p:nvPr/>
        </p:nvSpPr>
        <p:spPr>
          <a:xfrm>
            <a:off x="2339752" y="2062009"/>
            <a:ext cx="807343" cy="430887"/>
          </a:xfrm>
          <a:prstGeom prst="rect">
            <a:avLst/>
          </a:prstGeom>
          <a:noFill/>
        </p:spPr>
        <p:txBody>
          <a:bodyPr wrap="square" rtlCol="0">
            <a:spAutoFit/>
          </a:bodyPr>
          <a:lstStyle/>
          <a:p>
            <a:pPr algn="ctr" fontAlgn="base">
              <a:spcBef>
                <a:spcPct val="0"/>
              </a:spcBef>
              <a:spcAft>
                <a:spcPct val="0"/>
              </a:spcAft>
            </a:pPr>
            <a:r>
              <a:rPr lang="de-DE" sz="1100" dirty="0" err="1" smtClean="0">
                <a:solidFill>
                  <a:srgbClr val="000000"/>
                </a:solidFill>
              </a:rPr>
              <a:t>Available</a:t>
            </a:r>
            <a:r>
              <a:rPr lang="de-DE" sz="1100" dirty="0" smtClean="0">
                <a:solidFill>
                  <a:srgbClr val="000000"/>
                </a:solidFill>
              </a:rPr>
              <a:t> </a:t>
            </a:r>
            <a:r>
              <a:rPr lang="de-DE" sz="1100" dirty="0" err="1" smtClean="0">
                <a:solidFill>
                  <a:srgbClr val="000000"/>
                </a:solidFill>
              </a:rPr>
              <a:t>capacitiy</a:t>
            </a:r>
            <a:endParaRPr lang="de-DE" sz="1100" dirty="0">
              <a:solidFill>
                <a:srgbClr val="00B050"/>
              </a:solidFill>
            </a:endParaRPr>
          </a:p>
        </p:txBody>
      </p:sp>
      <p:cxnSp>
        <p:nvCxnSpPr>
          <p:cNvPr id="14" name="Connecteur droit avec flèche 13"/>
          <p:cNvCxnSpPr/>
          <p:nvPr/>
        </p:nvCxnSpPr>
        <p:spPr>
          <a:xfrm>
            <a:off x="2483768" y="2492896"/>
            <a:ext cx="720080" cy="1588"/>
          </a:xfrm>
          <a:prstGeom prst="straightConnector1">
            <a:avLst/>
          </a:prstGeom>
          <a:ln w="25400">
            <a:solidFill>
              <a:schemeClr val="bg2">
                <a:lumMod val="50000"/>
              </a:schemeClr>
            </a:solidFill>
            <a:tailEnd type="stealth"/>
          </a:ln>
        </p:spPr>
        <p:style>
          <a:lnRef idx="1">
            <a:schemeClr val="accent1"/>
          </a:lnRef>
          <a:fillRef idx="0">
            <a:schemeClr val="accent1"/>
          </a:fillRef>
          <a:effectRef idx="0">
            <a:schemeClr val="accent1"/>
          </a:effectRef>
          <a:fontRef idx="minor">
            <a:schemeClr val="tx1"/>
          </a:fontRef>
        </p:style>
      </p:cxnSp>
      <p:sp>
        <p:nvSpPr>
          <p:cNvPr id="11" name="Textfeld 181"/>
          <p:cNvSpPr txBox="1">
            <a:spLocks noChangeArrowheads="1"/>
          </p:cNvSpPr>
          <p:nvPr/>
        </p:nvSpPr>
        <p:spPr bwMode="auto">
          <a:xfrm>
            <a:off x="367803" y="5982379"/>
            <a:ext cx="8308653" cy="646331"/>
          </a:xfrm>
          <a:prstGeom prst="rect">
            <a:avLst/>
          </a:prstGeom>
          <a:noFill/>
          <a:ln w="9525">
            <a:noFill/>
            <a:miter lim="800000"/>
            <a:headEnd/>
            <a:tailEnd/>
          </a:ln>
        </p:spPr>
        <p:txBody>
          <a:bodyPr wrap="square">
            <a:spAutoFit/>
          </a:bodyPr>
          <a:lstStyle/>
          <a:p>
            <a:pPr marL="171450" indent="-171450">
              <a:buFont typeface="Arial" charset="0"/>
              <a:buChar char="•"/>
            </a:pPr>
            <a:r>
              <a:rPr lang="en-US" sz="1200" dirty="0">
                <a:solidFill>
                  <a:schemeClr val="tx2"/>
                </a:solidFill>
                <a:latin typeface="Tw Cen MT" pitchFamily="34" charset="0"/>
                <a:cs typeface="Arial" charset="0"/>
              </a:rPr>
              <a:t>All cross-zonal capacity will be allocated though the platform </a:t>
            </a:r>
          </a:p>
          <a:p>
            <a:pPr marL="171450" indent="-171450">
              <a:buFont typeface="Arial" charset="0"/>
              <a:buChar char="•"/>
            </a:pPr>
            <a:r>
              <a:rPr lang="en-US" sz="1200" dirty="0">
                <a:solidFill>
                  <a:schemeClr val="tx2"/>
                </a:solidFill>
                <a:latin typeface="Tw Cen MT" pitchFamily="34" charset="0"/>
                <a:cs typeface="Arial" charset="0"/>
              </a:rPr>
              <a:t>Regional auctions may complement the implicit continuous mechanism and has to be coordinated with and linked to the solution</a:t>
            </a:r>
            <a:endParaRPr lang="en-GB" sz="1200" dirty="0">
              <a:solidFill>
                <a:schemeClr val="tx2"/>
              </a:solidFill>
              <a:latin typeface="Tw Cen MT" pitchFamily="34" charset="0"/>
              <a:cs typeface="Arial" charset="0"/>
            </a:endParaRPr>
          </a:p>
          <a:p>
            <a:pPr marL="171450" indent="-171450">
              <a:buFont typeface="Arial" charset="0"/>
              <a:buChar char="•"/>
            </a:pPr>
            <a:r>
              <a:rPr lang="en-US" sz="1200" dirty="0">
                <a:solidFill>
                  <a:schemeClr val="tx2"/>
                </a:solidFill>
                <a:latin typeface="Tw Cen MT" pitchFamily="34" charset="0"/>
                <a:cs typeface="Arial" charset="0"/>
                <a:sym typeface="Wingdings" pitchFamily="2" charset="2"/>
              </a:rPr>
              <a:t>Explicit access (OTC and Balancing)</a:t>
            </a:r>
            <a:r>
              <a:rPr lang="en-GB" sz="1200" dirty="0">
                <a:solidFill>
                  <a:schemeClr val="tx2"/>
                </a:solidFill>
                <a:latin typeface="Tw Cen MT" pitchFamily="34" charset="0"/>
                <a:cs typeface="Arial" charset="0"/>
              </a:rPr>
              <a:t> provided by SOB/CMM platform, under TSO terms of access</a:t>
            </a:r>
            <a:endParaRPr lang="de-DE" sz="1200" dirty="0">
              <a:solidFill>
                <a:schemeClr val="tx2"/>
              </a:solidFill>
              <a:latin typeface="Tw Cen MT" pitchFamily="34" charset="0"/>
              <a:cs typeface="Arial" charset="0"/>
            </a:endParaRPr>
          </a:p>
        </p:txBody>
      </p:sp>
      <p:sp>
        <p:nvSpPr>
          <p:cNvPr id="12" name="Textfeld 11"/>
          <p:cNvSpPr txBox="1"/>
          <p:nvPr/>
        </p:nvSpPr>
        <p:spPr>
          <a:xfrm>
            <a:off x="5677695" y="2276872"/>
            <a:ext cx="2304256" cy="276999"/>
          </a:xfrm>
          <a:prstGeom prst="rect">
            <a:avLst/>
          </a:prstGeom>
          <a:noFill/>
        </p:spPr>
        <p:txBody>
          <a:bodyPr wrap="square" rtlCol="0">
            <a:spAutoFit/>
          </a:bodyPr>
          <a:lstStyle/>
          <a:p>
            <a:r>
              <a:rPr lang="de-DE" sz="1200" dirty="0" err="1" smtClean="0">
                <a:latin typeface="Tw Cen MT" pitchFamily="34" charset="0"/>
              </a:rPr>
              <a:t>integrated</a:t>
            </a:r>
            <a:r>
              <a:rPr lang="de-DE" sz="1200" dirty="0" smtClean="0">
                <a:latin typeface="Tw Cen MT" pitchFamily="34" charset="0"/>
              </a:rPr>
              <a:t> CMM/SOB </a:t>
            </a:r>
            <a:r>
              <a:rPr lang="de-DE" sz="1200" dirty="0" err="1" smtClean="0">
                <a:latin typeface="Tw Cen MT" pitchFamily="34" charset="0"/>
              </a:rPr>
              <a:t>functions</a:t>
            </a:r>
            <a:endParaRPr lang="de-DE" sz="1200" dirty="0">
              <a:latin typeface="Tw Cen MT" pitchFamily="34" charset="0"/>
            </a:endParaRPr>
          </a:p>
        </p:txBody>
      </p:sp>
    </p:spTree>
    <p:extLst>
      <p:ext uri="{BB962C8B-B14F-4D97-AF65-F5344CB8AC3E}">
        <p14:creationId xmlns:p14="http://schemas.microsoft.com/office/powerpoint/2010/main" val="101190007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itre 1"/>
          <p:cNvSpPr>
            <a:spLocks/>
          </p:cNvSpPr>
          <p:nvPr/>
        </p:nvSpPr>
        <p:spPr bwMode="auto">
          <a:xfrm>
            <a:off x="1619250" y="476250"/>
            <a:ext cx="7129463" cy="1143000"/>
          </a:xfrm>
          <a:prstGeom prst="rect">
            <a:avLst/>
          </a:prstGeom>
          <a:noFill/>
          <a:ln w="9525">
            <a:noFill/>
            <a:miter lim="800000"/>
            <a:headEnd/>
            <a:tailEnd/>
          </a:ln>
        </p:spPr>
        <p:txBody>
          <a:bodyPr anchor="b"/>
          <a:lstStyle/>
          <a:p>
            <a:pPr eaLnBrk="0" hangingPunct="0"/>
            <a:r>
              <a:rPr lang="fr-FR" sz="3200" b="1">
                <a:solidFill>
                  <a:srgbClr val="7F7F7F"/>
                </a:solidFill>
                <a:latin typeface="Tw Cen MT" pitchFamily="34" charset="0"/>
              </a:rPr>
              <a:t>4. Governance Arrangements</a:t>
            </a:r>
            <a:endParaRPr lang="fr-FR" sz="2400" b="1" i="1">
              <a:solidFill>
                <a:srgbClr val="7F7F7F"/>
              </a:solidFill>
              <a:latin typeface="Tw Cen MT" pitchFamily="34" charset="0"/>
            </a:endParaRPr>
          </a:p>
        </p:txBody>
      </p:sp>
      <p:sp>
        <p:nvSpPr>
          <p:cNvPr id="33794" name="Suorakulmio 3"/>
          <p:cNvSpPr>
            <a:spLocks noChangeArrowheads="1"/>
          </p:cNvSpPr>
          <p:nvPr/>
        </p:nvSpPr>
        <p:spPr bwMode="auto">
          <a:xfrm>
            <a:off x="395288" y="1773238"/>
            <a:ext cx="8353425" cy="5016500"/>
          </a:xfrm>
          <a:prstGeom prst="rect">
            <a:avLst/>
          </a:prstGeom>
          <a:noFill/>
          <a:ln w="9525">
            <a:noFill/>
            <a:miter lim="800000"/>
            <a:headEnd/>
            <a:tailEnd/>
          </a:ln>
        </p:spPr>
        <p:txBody>
          <a:bodyPr>
            <a:spAutoFit/>
          </a:bodyPr>
          <a:lstStyle/>
          <a:p>
            <a:pPr marL="457200" indent="-457200">
              <a:spcBef>
                <a:spcPts val="1200"/>
              </a:spcBef>
              <a:buFont typeface="Times New Roman" pitchFamily="18" charset="0"/>
              <a:buChar char="•"/>
            </a:pPr>
            <a:r>
              <a:rPr lang="en-US" dirty="0">
                <a:latin typeface="Tw Cen MT" pitchFamily="34" charset="0"/>
                <a:sym typeface="Wingdings" pitchFamily="2" charset="2"/>
              </a:rPr>
              <a:t>Intraday capacity calculation and allocation (including explicit access for OTC/Balancing) are governed by TSOs according to TSO rules, subject to regulatory approval</a:t>
            </a:r>
          </a:p>
          <a:p>
            <a:pPr marL="457200" indent="-457200">
              <a:spcBef>
                <a:spcPts val="1200"/>
              </a:spcBef>
              <a:buFont typeface="Times New Roman" pitchFamily="18" charset="0"/>
              <a:buChar char="•"/>
            </a:pPr>
            <a:r>
              <a:rPr lang="en-US" dirty="0">
                <a:latin typeface="Tw Cen MT" pitchFamily="34" charset="0"/>
                <a:sym typeface="Wingdings" pitchFamily="2" charset="2"/>
              </a:rPr>
              <a:t>Intraday shared order book is governed by PXs according to PX rules, subject to direct regulatory oversight applicable to markets and market places</a:t>
            </a:r>
          </a:p>
          <a:p>
            <a:pPr marL="457200" indent="-457200">
              <a:spcBef>
                <a:spcPts val="1200"/>
              </a:spcBef>
              <a:buFont typeface="Times New Roman" pitchFamily="18" charset="0"/>
              <a:buChar char="•"/>
            </a:pPr>
            <a:r>
              <a:rPr lang="en-US" dirty="0">
                <a:latin typeface="Tw Cen MT" pitchFamily="34" charset="0"/>
                <a:sym typeface="Wingdings" pitchFamily="2" charset="2"/>
              </a:rPr>
              <a:t>TSOs will take part in evaluation of starting point against TSO requirements, further algorithm development work and later on in change management of algorithm: TSO involvement limited to the extent allocation issues are concerned</a:t>
            </a:r>
          </a:p>
          <a:p>
            <a:pPr marL="457200" indent="-457200">
              <a:spcBef>
                <a:spcPts val="1200"/>
              </a:spcBef>
              <a:buFont typeface="Times New Roman" pitchFamily="18" charset="0"/>
              <a:buChar char="•"/>
            </a:pPr>
            <a:r>
              <a:rPr lang="en-US" dirty="0">
                <a:latin typeface="Tw Cen MT" pitchFamily="34" charset="0"/>
                <a:sym typeface="Wingdings" pitchFamily="2" charset="2"/>
              </a:rPr>
              <a:t>After implementation of the interim solution:</a:t>
            </a:r>
          </a:p>
          <a:p>
            <a:pPr marL="914400" lvl="1" indent="-457200">
              <a:spcBef>
                <a:spcPts val="1200"/>
              </a:spcBef>
              <a:buFont typeface="Times New Roman" pitchFamily="18" charset="0"/>
              <a:buChar char="•"/>
            </a:pPr>
            <a:r>
              <a:rPr lang="en-US" dirty="0">
                <a:latin typeface="Tw Cen MT" pitchFamily="34" charset="0"/>
                <a:sym typeface="Wingdings" pitchFamily="2" charset="2"/>
              </a:rPr>
              <a:t>Further SOB system and product evolutions to be proposed and developed by PXs in close cooperation with TSOs, in consultation with market parties, and subject to approval by the NRAs concerned</a:t>
            </a:r>
          </a:p>
          <a:p>
            <a:pPr marL="914400" lvl="1" indent="-457200">
              <a:spcBef>
                <a:spcPts val="1200"/>
              </a:spcBef>
              <a:buFont typeface="Times New Roman" pitchFamily="18" charset="0"/>
              <a:buChar char="•"/>
            </a:pPr>
            <a:r>
              <a:rPr lang="en-US" dirty="0">
                <a:latin typeface="Tw Cen MT" pitchFamily="34" charset="0"/>
                <a:sym typeface="Wingdings" pitchFamily="2" charset="2"/>
              </a:rPr>
              <a:t>Further evolutions of capacity allocation requirements to be proposed by TSOs, in consultation with market parties, subject to approval by the NRAs concerned and implemented by PXs</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Titre 1"/>
          <p:cNvSpPr>
            <a:spLocks/>
          </p:cNvSpPr>
          <p:nvPr/>
        </p:nvSpPr>
        <p:spPr bwMode="auto">
          <a:xfrm>
            <a:off x="1619250" y="476250"/>
            <a:ext cx="7129463" cy="1143000"/>
          </a:xfrm>
          <a:prstGeom prst="rect">
            <a:avLst/>
          </a:prstGeom>
          <a:noFill/>
          <a:ln w="9525">
            <a:noFill/>
            <a:miter lim="800000"/>
            <a:headEnd/>
            <a:tailEnd/>
          </a:ln>
        </p:spPr>
        <p:txBody>
          <a:bodyPr anchor="b"/>
          <a:lstStyle/>
          <a:p>
            <a:pPr eaLnBrk="0" hangingPunct="0"/>
            <a:r>
              <a:rPr lang="fr-FR" sz="3200" b="1">
                <a:solidFill>
                  <a:srgbClr val="7F7F7F"/>
                </a:solidFill>
                <a:latin typeface="Tw Cen MT" pitchFamily="34" charset="0"/>
              </a:rPr>
              <a:t>5. Roadmap</a:t>
            </a:r>
            <a:endParaRPr lang="fr-FR" sz="2400" b="1" i="1">
              <a:solidFill>
                <a:srgbClr val="7F7F7F"/>
              </a:solidFill>
              <a:latin typeface="Tw Cen MT" pitchFamily="34" charset="0"/>
            </a:endParaRPr>
          </a:p>
        </p:txBody>
      </p:sp>
      <p:sp>
        <p:nvSpPr>
          <p:cNvPr id="71" name="Abgerundetes Rechteck 70"/>
          <p:cNvSpPr/>
          <p:nvPr/>
        </p:nvSpPr>
        <p:spPr>
          <a:xfrm>
            <a:off x="369888" y="2427288"/>
            <a:ext cx="4346128" cy="2729904"/>
          </a:xfrm>
          <a:prstGeom prst="roundRect">
            <a:avLst/>
          </a:prstGeom>
          <a:gradFill>
            <a:gsLst>
              <a:gs pos="0">
                <a:schemeClr val="accent1">
                  <a:tint val="66000"/>
                  <a:satMod val="160000"/>
                </a:schemeClr>
              </a:gs>
              <a:gs pos="32000">
                <a:schemeClr val="accent1">
                  <a:tint val="44500"/>
                  <a:satMod val="160000"/>
                </a:schemeClr>
              </a:gs>
              <a:gs pos="100000">
                <a:schemeClr val="accent1">
                  <a:tint val="23500"/>
                  <a:satMod val="16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72" name="Stern mit 5 Zacken 71"/>
          <p:cNvSpPr/>
          <p:nvPr/>
        </p:nvSpPr>
        <p:spPr>
          <a:xfrm>
            <a:off x="4159988" y="4796259"/>
            <a:ext cx="287337" cy="288925"/>
          </a:xfrm>
          <a:prstGeom prst="star5">
            <a:avLst/>
          </a:prstGeom>
          <a:solidFill>
            <a:srgbClr val="C00000"/>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srgbClr val="C00000"/>
              </a:solidFill>
            </a:endParaRPr>
          </a:p>
        </p:txBody>
      </p:sp>
      <p:sp>
        <p:nvSpPr>
          <p:cNvPr id="35844" name="Textfeld 13"/>
          <p:cNvSpPr txBox="1">
            <a:spLocks noChangeArrowheads="1"/>
          </p:cNvSpPr>
          <p:nvPr/>
        </p:nvSpPr>
        <p:spPr bwMode="auto">
          <a:xfrm>
            <a:off x="1176338" y="1662113"/>
            <a:ext cx="647700" cy="277812"/>
          </a:xfrm>
          <a:prstGeom prst="rect">
            <a:avLst/>
          </a:prstGeom>
          <a:noFill/>
          <a:ln w="9525">
            <a:noFill/>
            <a:miter lim="800000"/>
            <a:headEnd/>
            <a:tailEnd/>
          </a:ln>
        </p:spPr>
        <p:txBody>
          <a:bodyPr>
            <a:spAutoFit/>
          </a:bodyPr>
          <a:lstStyle/>
          <a:p>
            <a:r>
              <a:rPr lang="de-DE" sz="1200"/>
              <a:t>2011</a:t>
            </a:r>
          </a:p>
        </p:txBody>
      </p:sp>
      <p:sp>
        <p:nvSpPr>
          <p:cNvPr id="35845" name="Textfeld 18"/>
          <p:cNvSpPr txBox="1">
            <a:spLocks noChangeArrowheads="1"/>
          </p:cNvSpPr>
          <p:nvPr/>
        </p:nvSpPr>
        <p:spPr bwMode="auto">
          <a:xfrm>
            <a:off x="2908300" y="1701800"/>
            <a:ext cx="647700" cy="276225"/>
          </a:xfrm>
          <a:prstGeom prst="rect">
            <a:avLst/>
          </a:prstGeom>
          <a:noFill/>
          <a:ln w="9525">
            <a:noFill/>
            <a:miter lim="800000"/>
            <a:headEnd/>
            <a:tailEnd/>
          </a:ln>
        </p:spPr>
        <p:txBody>
          <a:bodyPr>
            <a:spAutoFit/>
          </a:bodyPr>
          <a:lstStyle/>
          <a:p>
            <a:r>
              <a:rPr lang="de-DE" sz="1200"/>
              <a:t>2012</a:t>
            </a:r>
          </a:p>
        </p:txBody>
      </p:sp>
      <p:sp>
        <p:nvSpPr>
          <p:cNvPr id="35846" name="Textfeld 19"/>
          <p:cNvSpPr txBox="1">
            <a:spLocks noChangeArrowheads="1"/>
          </p:cNvSpPr>
          <p:nvPr/>
        </p:nvSpPr>
        <p:spPr bwMode="auto">
          <a:xfrm>
            <a:off x="4992688" y="1701800"/>
            <a:ext cx="647700" cy="277813"/>
          </a:xfrm>
          <a:prstGeom prst="rect">
            <a:avLst/>
          </a:prstGeom>
          <a:noFill/>
          <a:ln w="9525">
            <a:noFill/>
            <a:miter lim="800000"/>
            <a:headEnd/>
            <a:tailEnd/>
          </a:ln>
        </p:spPr>
        <p:txBody>
          <a:bodyPr>
            <a:spAutoFit/>
          </a:bodyPr>
          <a:lstStyle/>
          <a:p>
            <a:r>
              <a:rPr lang="de-DE" sz="1200"/>
              <a:t>2013</a:t>
            </a:r>
          </a:p>
        </p:txBody>
      </p:sp>
      <p:sp>
        <p:nvSpPr>
          <p:cNvPr id="35847" name="Textfeld 20"/>
          <p:cNvSpPr txBox="1">
            <a:spLocks noChangeArrowheads="1"/>
          </p:cNvSpPr>
          <p:nvPr/>
        </p:nvSpPr>
        <p:spPr bwMode="auto">
          <a:xfrm>
            <a:off x="7153275" y="1701800"/>
            <a:ext cx="647700" cy="277813"/>
          </a:xfrm>
          <a:prstGeom prst="rect">
            <a:avLst/>
          </a:prstGeom>
          <a:noFill/>
          <a:ln w="9525">
            <a:noFill/>
            <a:miter lim="800000"/>
            <a:headEnd/>
            <a:tailEnd/>
          </a:ln>
        </p:spPr>
        <p:txBody>
          <a:bodyPr>
            <a:spAutoFit/>
          </a:bodyPr>
          <a:lstStyle/>
          <a:p>
            <a:r>
              <a:rPr lang="de-DE" sz="1200"/>
              <a:t>2014</a:t>
            </a:r>
          </a:p>
        </p:txBody>
      </p:sp>
      <p:sp>
        <p:nvSpPr>
          <p:cNvPr id="35848" name="Textfeld 15"/>
          <p:cNvSpPr txBox="1">
            <a:spLocks noChangeArrowheads="1"/>
          </p:cNvSpPr>
          <p:nvPr/>
        </p:nvSpPr>
        <p:spPr bwMode="auto">
          <a:xfrm>
            <a:off x="4518763" y="4837534"/>
            <a:ext cx="736600" cy="247650"/>
          </a:xfrm>
          <a:prstGeom prst="rect">
            <a:avLst/>
          </a:prstGeom>
          <a:noFill/>
          <a:ln w="9525">
            <a:noFill/>
            <a:miter lim="800000"/>
            <a:headEnd/>
            <a:tailEnd/>
          </a:ln>
        </p:spPr>
        <p:txBody>
          <a:bodyPr>
            <a:spAutoFit/>
          </a:bodyPr>
          <a:lstStyle/>
          <a:p>
            <a:r>
              <a:rPr lang="de-DE" sz="1000"/>
              <a:t>Go-Live </a:t>
            </a:r>
          </a:p>
        </p:txBody>
      </p:sp>
      <p:sp>
        <p:nvSpPr>
          <p:cNvPr id="78" name="Textfeld 77"/>
          <p:cNvSpPr txBox="1"/>
          <p:nvPr/>
        </p:nvSpPr>
        <p:spPr>
          <a:xfrm rot="16200000">
            <a:off x="-203622" y="3480643"/>
            <a:ext cx="1805994" cy="338554"/>
          </a:xfrm>
          <a:prstGeom prst="rect">
            <a:avLst/>
          </a:prstGeom>
          <a:noFill/>
          <a:effectLst>
            <a:glow rad="139700">
              <a:srgbClr val="008000">
                <a:alpha val="40000"/>
              </a:srgbClr>
            </a:glow>
          </a:effectLst>
        </p:spPr>
        <p:txBody>
          <a:bodyPr>
            <a:spAutoFit/>
          </a:bodyPr>
          <a:lstStyle/>
          <a:p>
            <a:pPr>
              <a:defRPr/>
            </a:pPr>
            <a:r>
              <a:rPr lang="de-DE" sz="1600" b="1" dirty="0">
                <a:ln w="10541" cmpd="sng">
                  <a:solidFill>
                    <a:srgbClr val="7D7D7D">
                      <a:tint val="100000"/>
                      <a:shade val="100000"/>
                      <a:satMod val="110000"/>
                    </a:srgbClr>
                  </a:solidFill>
                  <a:prstDash val="solid"/>
                </a:ln>
                <a:solidFill>
                  <a:schemeClr val="bg2">
                    <a:lumMod val="50000"/>
                  </a:schemeClr>
                </a:solidFill>
              </a:rPr>
              <a:t>Interim Solution</a:t>
            </a:r>
          </a:p>
        </p:txBody>
      </p:sp>
      <p:grpSp>
        <p:nvGrpSpPr>
          <p:cNvPr id="79" name="Gruppieren 78"/>
          <p:cNvGrpSpPr>
            <a:grpSpLocks/>
          </p:cNvGrpSpPr>
          <p:nvPr/>
        </p:nvGrpSpPr>
        <p:grpSpPr bwMode="auto">
          <a:xfrm>
            <a:off x="346075" y="5238750"/>
            <a:ext cx="8542338" cy="1458913"/>
            <a:chOff x="357733" y="5177555"/>
            <a:chExt cx="8541012" cy="1459972"/>
          </a:xfrm>
        </p:grpSpPr>
        <p:sp>
          <p:nvSpPr>
            <p:cNvPr id="80" name="Abgerundetes Rechteck 79"/>
            <p:cNvSpPr/>
            <p:nvPr/>
          </p:nvSpPr>
          <p:spPr>
            <a:xfrm>
              <a:off x="357733" y="5177555"/>
              <a:ext cx="8541012" cy="1459972"/>
            </a:xfrm>
            <a:prstGeom prst="roundRect">
              <a:avLst/>
            </a:prstGeom>
            <a:solidFill>
              <a:schemeClr val="bg1"/>
            </a:solidFill>
            <a:ln w="25400" cmpd="sng">
              <a:solidFill>
                <a:schemeClr val="tx1">
                  <a:lumMod val="75000"/>
                  <a:lumOff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81" name="Richtungspfeil 80"/>
            <p:cNvSpPr/>
            <p:nvPr/>
          </p:nvSpPr>
          <p:spPr>
            <a:xfrm>
              <a:off x="6404605" y="5594147"/>
              <a:ext cx="2127485" cy="437172"/>
            </a:xfrm>
            <a:prstGeom prst="homePlate">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r>
                <a:rPr lang="de-DE" sz="1600" dirty="0">
                  <a:ln w="18415" cmpd="sng">
                    <a:solidFill>
                      <a:srgbClr val="FFFFFF"/>
                    </a:solidFill>
                    <a:prstDash val="solid"/>
                  </a:ln>
                  <a:solidFill>
                    <a:srgbClr val="FFFFFF"/>
                  </a:solidFill>
                  <a:effectLst>
                    <a:outerShdw blurRad="63500" dir="3600000" algn="tl" rotWithShape="0">
                      <a:srgbClr val="000000">
                        <a:alpha val="70000"/>
                      </a:srgbClr>
                    </a:outerShdw>
                  </a:effectLst>
                </a:rPr>
                <a:t>Implementation</a:t>
              </a:r>
            </a:p>
          </p:txBody>
        </p:sp>
        <p:sp>
          <p:nvSpPr>
            <p:cNvPr id="82" name="Stern mit 5 Zacken 81"/>
            <p:cNvSpPr/>
            <p:nvPr/>
          </p:nvSpPr>
          <p:spPr>
            <a:xfrm>
              <a:off x="8395585" y="6175229"/>
              <a:ext cx="288880" cy="287547"/>
            </a:xfrm>
            <a:prstGeom prst="star5">
              <a:avLst/>
            </a:prstGeom>
            <a:solidFill>
              <a:srgbClr val="C00000"/>
            </a:solidFill>
            <a:ln w="31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solidFill>
                  <a:srgbClr val="C00000"/>
                </a:solidFill>
              </a:endParaRPr>
            </a:p>
          </p:txBody>
        </p:sp>
        <p:sp>
          <p:nvSpPr>
            <p:cNvPr id="35880" name="Textfeld 25"/>
            <p:cNvSpPr txBox="1">
              <a:spLocks noChangeArrowheads="1"/>
            </p:cNvSpPr>
            <p:nvPr/>
          </p:nvSpPr>
          <p:spPr bwMode="auto">
            <a:xfrm>
              <a:off x="8234543" y="6391305"/>
              <a:ext cx="664202" cy="246221"/>
            </a:xfrm>
            <a:prstGeom prst="rect">
              <a:avLst/>
            </a:prstGeom>
            <a:noFill/>
            <a:ln w="9525">
              <a:noFill/>
              <a:miter lim="800000"/>
              <a:headEnd/>
              <a:tailEnd/>
            </a:ln>
          </p:spPr>
          <p:txBody>
            <a:bodyPr>
              <a:spAutoFit/>
            </a:bodyPr>
            <a:lstStyle/>
            <a:p>
              <a:r>
                <a:rPr lang="de-DE" sz="1000"/>
                <a:t>Go-Live </a:t>
              </a:r>
            </a:p>
          </p:txBody>
        </p:sp>
        <p:sp>
          <p:nvSpPr>
            <p:cNvPr id="84" name="Textfeld 83"/>
            <p:cNvSpPr txBox="1"/>
            <p:nvPr/>
          </p:nvSpPr>
          <p:spPr>
            <a:xfrm rot="16200000">
              <a:off x="77155" y="5551050"/>
              <a:ext cx="1331766" cy="584775"/>
            </a:xfrm>
            <a:prstGeom prst="rect">
              <a:avLst/>
            </a:prstGeom>
            <a:noFill/>
            <a:effectLst>
              <a:glow rad="139700">
                <a:srgbClr val="008000">
                  <a:alpha val="40000"/>
                </a:srgbClr>
              </a:glow>
            </a:effectLst>
          </p:spPr>
          <p:txBody>
            <a:bodyPr>
              <a:spAutoFit/>
            </a:bodyPr>
            <a:lstStyle/>
            <a:p>
              <a:pPr algn="ctr">
                <a:defRPr/>
              </a:pPr>
              <a:r>
                <a:rPr lang="de-DE" sz="1600" b="1" dirty="0" err="1">
                  <a:ln w="10541" cmpd="sng">
                    <a:solidFill>
                      <a:srgbClr val="7D7D7D">
                        <a:tint val="100000"/>
                        <a:shade val="100000"/>
                        <a:satMod val="110000"/>
                      </a:srgbClr>
                    </a:solidFill>
                    <a:prstDash val="solid"/>
                  </a:ln>
                  <a:solidFill>
                    <a:schemeClr val="bg2">
                      <a:lumMod val="50000"/>
                    </a:schemeClr>
                  </a:solidFill>
                </a:rPr>
                <a:t>Enduring</a:t>
              </a:r>
              <a:endParaRPr lang="de-DE" sz="1600" b="1" dirty="0">
                <a:ln w="10541" cmpd="sng">
                  <a:solidFill>
                    <a:srgbClr val="7D7D7D">
                      <a:tint val="100000"/>
                      <a:shade val="100000"/>
                      <a:satMod val="110000"/>
                    </a:srgbClr>
                  </a:solidFill>
                  <a:prstDash val="solid"/>
                </a:ln>
                <a:solidFill>
                  <a:schemeClr val="bg2">
                    <a:lumMod val="50000"/>
                  </a:schemeClr>
                </a:solidFill>
              </a:endParaRPr>
            </a:p>
            <a:p>
              <a:pPr algn="ctr">
                <a:defRPr/>
              </a:pPr>
              <a:r>
                <a:rPr lang="de-DE" sz="1600" b="1" dirty="0">
                  <a:ln w="10541" cmpd="sng">
                    <a:solidFill>
                      <a:srgbClr val="7D7D7D">
                        <a:tint val="100000"/>
                        <a:shade val="100000"/>
                        <a:satMod val="110000"/>
                      </a:srgbClr>
                    </a:solidFill>
                    <a:prstDash val="solid"/>
                  </a:ln>
                  <a:solidFill>
                    <a:schemeClr val="bg2">
                      <a:lumMod val="50000"/>
                    </a:schemeClr>
                  </a:solidFill>
                </a:rPr>
                <a:t>Solution</a:t>
              </a:r>
            </a:p>
          </p:txBody>
        </p:sp>
        <p:sp>
          <p:nvSpPr>
            <p:cNvPr id="85" name="Richtungspfeil 84"/>
            <p:cNvSpPr/>
            <p:nvPr/>
          </p:nvSpPr>
          <p:spPr>
            <a:xfrm>
              <a:off x="3265743" y="5238358"/>
              <a:ext cx="3090222" cy="432048"/>
            </a:xfrm>
            <a:prstGeom prst="homePlate">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r>
                <a:rPr lang="de-DE" sz="1600" dirty="0">
                  <a:ln w="18415" cmpd="sng">
                    <a:solidFill>
                      <a:srgbClr val="FFFFFF"/>
                    </a:solidFill>
                    <a:prstDash val="solid"/>
                  </a:ln>
                  <a:solidFill>
                    <a:srgbClr val="FFFFFF"/>
                  </a:solidFill>
                  <a:effectLst>
                    <a:outerShdw blurRad="63500" dir="3600000" algn="tl" rotWithShape="0">
                      <a:srgbClr val="000000">
                        <a:alpha val="70000"/>
                      </a:srgbClr>
                    </a:outerShdw>
                  </a:effectLst>
                </a:rPr>
                <a:t>       Design Phase</a:t>
              </a:r>
            </a:p>
          </p:txBody>
        </p:sp>
      </p:grpSp>
      <p:cxnSp>
        <p:nvCxnSpPr>
          <p:cNvPr id="86" name="Gerade Verbindung 85"/>
          <p:cNvCxnSpPr/>
          <p:nvPr/>
        </p:nvCxnSpPr>
        <p:spPr>
          <a:xfrm>
            <a:off x="2147888" y="1979613"/>
            <a:ext cx="0" cy="4464050"/>
          </a:xfrm>
          <a:prstGeom prst="line">
            <a:avLst/>
          </a:prstGeom>
          <a:ln w="15875" cmpd="sng">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7" name="Gerade Verbindung 86"/>
          <p:cNvCxnSpPr/>
          <p:nvPr/>
        </p:nvCxnSpPr>
        <p:spPr>
          <a:xfrm>
            <a:off x="4276725" y="2022475"/>
            <a:ext cx="0" cy="4464050"/>
          </a:xfrm>
          <a:prstGeom prst="line">
            <a:avLst/>
          </a:prstGeom>
          <a:ln w="15875" cmpd="sng">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8" name="Gerade Verbindung 87"/>
          <p:cNvCxnSpPr/>
          <p:nvPr/>
        </p:nvCxnSpPr>
        <p:spPr>
          <a:xfrm>
            <a:off x="6345238" y="1979613"/>
            <a:ext cx="0" cy="4464050"/>
          </a:xfrm>
          <a:prstGeom prst="line">
            <a:avLst/>
          </a:prstGeom>
          <a:ln w="15875" cmpd="sng">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89" name="Gerade Verbindung 88"/>
          <p:cNvCxnSpPr/>
          <p:nvPr/>
        </p:nvCxnSpPr>
        <p:spPr>
          <a:xfrm>
            <a:off x="8521700" y="1979613"/>
            <a:ext cx="0" cy="4464050"/>
          </a:xfrm>
          <a:prstGeom prst="line">
            <a:avLst/>
          </a:prstGeom>
          <a:ln w="15875" cmpd="sng">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0" name="Textfeld 89"/>
          <p:cNvSpPr txBox="1"/>
          <p:nvPr/>
        </p:nvSpPr>
        <p:spPr>
          <a:xfrm>
            <a:off x="1115616" y="2500100"/>
            <a:ext cx="1296144" cy="261610"/>
          </a:xfrm>
          <a:prstGeom prst="rect">
            <a:avLst/>
          </a:prstGeom>
        </p:spPr>
        <p:style>
          <a:lnRef idx="0">
            <a:schemeClr val="accent5"/>
          </a:lnRef>
          <a:fillRef idx="3">
            <a:schemeClr val="accent5"/>
          </a:fillRef>
          <a:effectRef idx="3">
            <a:schemeClr val="accent5"/>
          </a:effectRef>
          <a:fontRef idx="minor">
            <a:schemeClr val="lt1"/>
          </a:fontRef>
        </p:style>
        <p:txBody>
          <a:bodyPr>
            <a:spAutoFit/>
          </a:bodyPr>
          <a:lstStyle>
            <a:defPPr>
              <a:defRPr lang="de-DE"/>
            </a:defPPr>
            <a:lvl1pPr algn="ctr">
              <a:defRPr sz="1100">
                <a:solidFill>
                  <a:schemeClr val="tx1"/>
                </a:solidFill>
              </a:defRPr>
            </a:lvl1pPr>
          </a:lstStyle>
          <a:p>
            <a:pPr>
              <a:defRPr/>
            </a:pPr>
            <a:r>
              <a:rPr lang="de-DE" dirty="0"/>
              <a:t>TSO </a:t>
            </a:r>
            <a:r>
              <a:rPr lang="de-DE" dirty="0" err="1"/>
              <a:t>specification</a:t>
            </a:r>
            <a:endParaRPr lang="de-DE" dirty="0"/>
          </a:p>
        </p:txBody>
      </p:sp>
      <p:sp>
        <p:nvSpPr>
          <p:cNvPr id="91" name="Textfeld 90"/>
          <p:cNvSpPr txBox="1"/>
          <p:nvPr/>
        </p:nvSpPr>
        <p:spPr>
          <a:xfrm>
            <a:off x="1115616" y="2797097"/>
            <a:ext cx="1296144" cy="246221"/>
          </a:xfrm>
          <a:prstGeom prst="rect">
            <a:avLst/>
          </a:prstGeom>
        </p:spPr>
        <p:style>
          <a:lnRef idx="0">
            <a:schemeClr val="accent5"/>
          </a:lnRef>
          <a:fillRef idx="3">
            <a:schemeClr val="accent5"/>
          </a:fillRef>
          <a:effectRef idx="3">
            <a:schemeClr val="accent5"/>
          </a:effectRef>
          <a:fontRef idx="minor">
            <a:schemeClr val="lt1"/>
          </a:fontRef>
        </p:style>
        <p:txBody>
          <a:bodyPr>
            <a:spAutoFit/>
          </a:bodyPr>
          <a:lstStyle>
            <a:defPPr>
              <a:defRPr lang="de-DE"/>
            </a:defPPr>
            <a:lvl1pPr algn="ctr">
              <a:defRPr sz="1100">
                <a:solidFill>
                  <a:schemeClr val="tx1"/>
                </a:solidFill>
              </a:defRPr>
            </a:lvl1pPr>
          </a:lstStyle>
          <a:p>
            <a:pPr>
              <a:defRPr/>
            </a:pPr>
            <a:r>
              <a:rPr lang="de-DE" sz="1000" dirty="0"/>
              <a:t>TSO </a:t>
            </a:r>
            <a:r>
              <a:rPr lang="de-DE" sz="1000" dirty="0" err="1"/>
              <a:t>requirements</a:t>
            </a:r>
            <a:endParaRPr lang="de-DE" sz="1000" dirty="0"/>
          </a:p>
        </p:txBody>
      </p:sp>
      <p:sp>
        <p:nvSpPr>
          <p:cNvPr id="92" name="Textfeld 91"/>
          <p:cNvSpPr txBox="1"/>
          <p:nvPr/>
        </p:nvSpPr>
        <p:spPr>
          <a:xfrm>
            <a:off x="1115616" y="3492165"/>
            <a:ext cx="2055585" cy="261610"/>
          </a:xfrm>
          <a:prstGeom prst="rect">
            <a:avLst/>
          </a:prstGeom>
        </p:spPr>
        <p:style>
          <a:lnRef idx="0">
            <a:schemeClr val="accent5"/>
          </a:lnRef>
          <a:fillRef idx="3">
            <a:schemeClr val="accent5"/>
          </a:fillRef>
          <a:effectRef idx="3">
            <a:schemeClr val="accent5"/>
          </a:effectRef>
          <a:fontRef idx="minor">
            <a:schemeClr val="lt1"/>
          </a:fontRef>
        </p:style>
        <p:txBody>
          <a:bodyPr>
            <a:spAutoFit/>
          </a:bodyPr>
          <a:lstStyle/>
          <a:p>
            <a:pPr algn="ctr">
              <a:defRPr/>
            </a:pPr>
            <a:r>
              <a:rPr lang="de-DE" sz="1100" dirty="0">
                <a:solidFill>
                  <a:schemeClr val="tx1"/>
                </a:solidFill>
              </a:rPr>
              <a:t>CMM/SOB </a:t>
            </a:r>
            <a:r>
              <a:rPr lang="de-DE" sz="1100" dirty="0" err="1">
                <a:solidFill>
                  <a:schemeClr val="tx1"/>
                </a:solidFill>
              </a:rPr>
              <a:t>concept</a:t>
            </a:r>
            <a:endParaRPr lang="de-DE" sz="1100" dirty="0">
              <a:solidFill>
                <a:schemeClr val="tx1"/>
              </a:solidFill>
            </a:endParaRPr>
          </a:p>
        </p:txBody>
      </p:sp>
      <p:sp>
        <p:nvSpPr>
          <p:cNvPr id="93" name="Abgerundetes Rechteck 92"/>
          <p:cNvSpPr/>
          <p:nvPr/>
        </p:nvSpPr>
        <p:spPr>
          <a:xfrm>
            <a:off x="2519630" y="4509120"/>
            <a:ext cx="1728192" cy="216024"/>
          </a:xfrm>
          <a:prstGeom prst="roundRect">
            <a:avLst/>
          </a:prstGeom>
          <a:gradFill>
            <a:gsLst>
              <a:gs pos="60000">
                <a:srgbClr val="0066FF"/>
              </a:gs>
              <a:gs pos="100000">
                <a:schemeClr val="accent1">
                  <a:shade val="89000"/>
                  <a:lumMod val="90000"/>
                </a:schemeClr>
              </a:gs>
            </a:gsLst>
            <a:lin ang="5400000" scaled="0"/>
          </a:gradFill>
          <a:ln>
            <a:noFill/>
          </a:ln>
        </p:spPr>
        <p:style>
          <a:lnRef idx="0">
            <a:schemeClr val="dk1"/>
          </a:lnRef>
          <a:fillRef idx="1003">
            <a:schemeClr val="lt2"/>
          </a:fillRef>
          <a:effectRef idx="3">
            <a:schemeClr val="dk1"/>
          </a:effectRef>
          <a:fontRef idx="minor">
            <a:schemeClr val="lt1"/>
          </a:fontRef>
        </p:style>
        <p:txBody>
          <a:bodyPr anchor="ctr"/>
          <a:lstStyle/>
          <a:p>
            <a:pPr algn="ctr">
              <a:defRPr/>
            </a:pPr>
            <a:endParaRPr lang="de-DE" sz="1000" dirty="0">
              <a:solidFill>
                <a:schemeClr val="bg1"/>
              </a:solidFill>
            </a:endParaRPr>
          </a:p>
        </p:txBody>
      </p:sp>
      <p:sp>
        <p:nvSpPr>
          <p:cNvPr id="94" name="Textfeld 93"/>
          <p:cNvSpPr txBox="1"/>
          <p:nvPr/>
        </p:nvSpPr>
        <p:spPr>
          <a:xfrm>
            <a:off x="1115616" y="3140968"/>
            <a:ext cx="2055585" cy="261610"/>
          </a:xfrm>
          <a:prstGeom prst="rect">
            <a:avLst/>
          </a:prstGeom>
        </p:spPr>
        <p:style>
          <a:lnRef idx="0">
            <a:schemeClr val="accent5"/>
          </a:lnRef>
          <a:fillRef idx="3">
            <a:schemeClr val="accent5"/>
          </a:fillRef>
          <a:effectRef idx="3">
            <a:schemeClr val="accent5"/>
          </a:effectRef>
          <a:fontRef idx="minor">
            <a:schemeClr val="lt1"/>
          </a:fontRef>
        </p:style>
        <p:txBody>
          <a:bodyPr>
            <a:spAutoFit/>
          </a:bodyPr>
          <a:lstStyle/>
          <a:p>
            <a:pPr algn="ctr">
              <a:defRPr/>
            </a:pPr>
            <a:r>
              <a:rPr lang="de-DE" sz="1100" dirty="0">
                <a:solidFill>
                  <a:schemeClr val="tx1"/>
                </a:solidFill>
              </a:rPr>
              <a:t>Clearing </a:t>
            </a:r>
            <a:r>
              <a:rPr lang="de-DE" sz="1100" dirty="0" err="1">
                <a:solidFill>
                  <a:schemeClr val="tx1"/>
                </a:solidFill>
              </a:rPr>
              <a:t>and</a:t>
            </a:r>
            <a:r>
              <a:rPr lang="de-DE" sz="1100" dirty="0">
                <a:solidFill>
                  <a:schemeClr val="tx1"/>
                </a:solidFill>
              </a:rPr>
              <a:t> </a:t>
            </a:r>
            <a:r>
              <a:rPr lang="de-DE" sz="1100" dirty="0" err="1">
                <a:solidFill>
                  <a:schemeClr val="tx1"/>
                </a:solidFill>
              </a:rPr>
              <a:t>settlement</a:t>
            </a:r>
            <a:endParaRPr lang="de-DE" sz="1100" dirty="0">
              <a:solidFill>
                <a:schemeClr val="tx1"/>
              </a:solidFill>
            </a:endParaRPr>
          </a:p>
        </p:txBody>
      </p:sp>
      <p:sp>
        <p:nvSpPr>
          <p:cNvPr id="95" name="Abgerundetes Rechteck 94"/>
          <p:cNvSpPr/>
          <p:nvPr/>
        </p:nvSpPr>
        <p:spPr>
          <a:xfrm>
            <a:off x="2439673" y="4428003"/>
            <a:ext cx="1728192" cy="216024"/>
          </a:xfrm>
          <a:prstGeom prst="roundRect">
            <a:avLst/>
          </a:prstGeom>
          <a:gradFill>
            <a:gsLst>
              <a:gs pos="60000">
                <a:srgbClr val="0066FF"/>
              </a:gs>
              <a:gs pos="100000">
                <a:schemeClr val="accent1">
                  <a:shade val="89000"/>
                  <a:lumMod val="90000"/>
                </a:schemeClr>
              </a:gs>
            </a:gsLst>
            <a:lin ang="5400000" scaled="0"/>
          </a:gradFill>
          <a:ln>
            <a:noFill/>
          </a:ln>
        </p:spPr>
        <p:style>
          <a:lnRef idx="0">
            <a:schemeClr val="dk1"/>
          </a:lnRef>
          <a:fillRef idx="1003">
            <a:schemeClr val="lt2"/>
          </a:fillRef>
          <a:effectRef idx="3">
            <a:schemeClr val="dk1"/>
          </a:effectRef>
          <a:fontRef idx="minor">
            <a:schemeClr val="lt1"/>
          </a:fontRef>
        </p:style>
        <p:txBody>
          <a:bodyPr anchor="ctr"/>
          <a:lstStyle/>
          <a:p>
            <a:pPr algn="ctr">
              <a:defRPr/>
            </a:pPr>
            <a:endParaRPr lang="de-DE" sz="1000" dirty="0">
              <a:solidFill>
                <a:schemeClr val="bg1"/>
              </a:solidFill>
            </a:endParaRPr>
          </a:p>
        </p:txBody>
      </p:sp>
      <p:sp>
        <p:nvSpPr>
          <p:cNvPr id="96" name="Abgerundetes Rechteck 95"/>
          <p:cNvSpPr/>
          <p:nvPr/>
        </p:nvSpPr>
        <p:spPr>
          <a:xfrm>
            <a:off x="2348719" y="4347030"/>
            <a:ext cx="1728192" cy="216024"/>
          </a:xfrm>
          <a:prstGeom prst="roundRect">
            <a:avLst/>
          </a:prstGeom>
          <a:gradFill>
            <a:gsLst>
              <a:gs pos="60000">
                <a:srgbClr val="0066FF"/>
              </a:gs>
              <a:gs pos="100000">
                <a:schemeClr val="accent1">
                  <a:shade val="89000"/>
                  <a:lumMod val="90000"/>
                </a:schemeClr>
              </a:gs>
            </a:gsLst>
            <a:lin ang="5400000" scaled="0"/>
          </a:gradFill>
          <a:ln>
            <a:noFill/>
          </a:ln>
        </p:spPr>
        <p:style>
          <a:lnRef idx="0">
            <a:schemeClr val="dk1"/>
          </a:lnRef>
          <a:fillRef idx="1003">
            <a:schemeClr val="lt2"/>
          </a:fillRef>
          <a:effectRef idx="3">
            <a:schemeClr val="dk1"/>
          </a:effectRef>
          <a:fontRef idx="minor">
            <a:schemeClr val="lt1"/>
          </a:fontRef>
        </p:style>
        <p:txBody>
          <a:bodyPr anchor="ctr"/>
          <a:lstStyle/>
          <a:p>
            <a:pPr algn="ctr">
              <a:defRPr/>
            </a:pPr>
            <a:r>
              <a:rPr lang="de-DE" sz="1000" dirty="0" err="1">
                <a:solidFill>
                  <a:schemeClr val="bg1"/>
                </a:solidFill>
              </a:rPr>
              <a:t>Local</a:t>
            </a:r>
            <a:r>
              <a:rPr lang="de-DE" sz="1000" dirty="0">
                <a:solidFill>
                  <a:schemeClr val="bg1"/>
                </a:solidFill>
              </a:rPr>
              <a:t> </a:t>
            </a:r>
            <a:r>
              <a:rPr lang="de-DE" sz="1000" dirty="0" err="1">
                <a:solidFill>
                  <a:schemeClr val="bg1"/>
                </a:solidFill>
              </a:rPr>
              <a:t>implementation</a:t>
            </a:r>
            <a:endParaRPr lang="de-DE" sz="1000" dirty="0">
              <a:solidFill>
                <a:schemeClr val="bg1"/>
              </a:solidFill>
            </a:endParaRPr>
          </a:p>
        </p:txBody>
      </p:sp>
      <p:sp>
        <p:nvSpPr>
          <p:cNvPr id="97" name="Textfeld 3"/>
          <p:cNvSpPr txBox="1"/>
          <p:nvPr/>
        </p:nvSpPr>
        <p:spPr>
          <a:xfrm>
            <a:off x="311150" y="2022475"/>
            <a:ext cx="1804988" cy="29210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defPPr>
              <a:defRPr lang="de-DE"/>
            </a:defPPr>
            <a:lvl1pPr algn="ctr">
              <a:defRPr sz="1600">
                <a:ln w="18415" cmpd="sng">
                  <a:solidFill>
                    <a:srgbClr val="FFFFFF"/>
                  </a:solidFill>
                  <a:prstDash val="solid"/>
                </a:ln>
                <a:solidFill>
                  <a:srgbClr val="FFFFFF"/>
                </a:solidFill>
                <a:effectLst>
                  <a:outerShdw blurRad="63500" dir="3600000" algn="tl" rotWithShape="0">
                    <a:srgbClr val="000000">
                      <a:alpha val="70000"/>
                    </a:srgbClr>
                  </a:outerShdw>
                </a:effectLst>
              </a:defRPr>
            </a:lvl1pPr>
          </a:lstStyle>
          <a:p>
            <a:pPr>
              <a:defRPr/>
            </a:pPr>
            <a:r>
              <a:rPr lang="de-DE" sz="1000" b="1" dirty="0" err="1">
                <a:ln>
                  <a:noFill/>
                </a:ln>
                <a:solidFill>
                  <a:schemeClr val="bg2">
                    <a:lumMod val="50000"/>
                  </a:schemeClr>
                </a:solidFill>
                <a:effectLst/>
              </a:rPr>
              <a:t>MoU</a:t>
            </a:r>
            <a:r>
              <a:rPr lang="de-DE" sz="1000" b="1" dirty="0">
                <a:ln>
                  <a:noFill/>
                </a:ln>
                <a:solidFill>
                  <a:schemeClr val="bg2">
                    <a:lumMod val="50000"/>
                  </a:schemeClr>
                </a:solidFill>
                <a:effectLst/>
              </a:rPr>
              <a:t> ENTSO-E - </a:t>
            </a:r>
            <a:r>
              <a:rPr lang="de-DE" sz="1000" b="1" dirty="0" err="1">
                <a:ln>
                  <a:noFill/>
                </a:ln>
                <a:solidFill>
                  <a:schemeClr val="bg2">
                    <a:lumMod val="50000"/>
                  </a:schemeClr>
                </a:solidFill>
                <a:effectLst/>
              </a:rPr>
              <a:t>Europex</a:t>
            </a:r>
            <a:endParaRPr lang="de-DE" sz="1000" b="1" dirty="0">
              <a:ln>
                <a:noFill/>
              </a:ln>
              <a:solidFill>
                <a:schemeClr val="bg2">
                  <a:lumMod val="50000"/>
                </a:schemeClr>
              </a:solidFill>
              <a:effectLst/>
            </a:endParaRPr>
          </a:p>
        </p:txBody>
      </p:sp>
      <p:sp>
        <p:nvSpPr>
          <p:cNvPr id="30" name="Textfeld 91"/>
          <p:cNvSpPr txBox="1"/>
          <p:nvPr/>
        </p:nvSpPr>
        <p:spPr>
          <a:xfrm>
            <a:off x="3212815" y="3789040"/>
            <a:ext cx="1031792" cy="430887"/>
          </a:xfrm>
          <a:prstGeom prst="rect">
            <a:avLst/>
          </a:prstGeom>
        </p:spPr>
        <p:style>
          <a:lnRef idx="0">
            <a:schemeClr val="accent5"/>
          </a:lnRef>
          <a:fillRef idx="3">
            <a:schemeClr val="accent5"/>
          </a:fillRef>
          <a:effectRef idx="3">
            <a:schemeClr val="accent5"/>
          </a:effectRef>
          <a:fontRef idx="minor">
            <a:schemeClr val="lt1"/>
          </a:fontRef>
        </p:style>
        <p:txBody>
          <a:bodyPr wrap="square">
            <a:spAutoFit/>
          </a:bodyPr>
          <a:lstStyle/>
          <a:p>
            <a:pPr algn="ctr">
              <a:defRPr/>
            </a:pPr>
            <a:r>
              <a:rPr lang="de-DE" sz="1100" dirty="0">
                <a:solidFill>
                  <a:schemeClr val="tx1"/>
                </a:solidFill>
              </a:rPr>
              <a:t>NWE CMM / SOB </a:t>
            </a:r>
            <a:r>
              <a:rPr lang="de-DE" sz="1100" dirty="0" err="1">
                <a:solidFill>
                  <a:schemeClr val="tx1"/>
                </a:solidFill>
              </a:rPr>
              <a:t>delivery</a:t>
            </a:r>
            <a:endParaRPr lang="de-DE" sz="1100" dirty="0">
              <a:solidFill>
                <a:schemeClr val="tx1"/>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barn(inVertical)">
                                      <p:cBhvr>
                                        <p:cTn id="7" dur="75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re 1"/>
          <p:cNvSpPr>
            <a:spLocks/>
          </p:cNvSpPr>
          <p:nvPr/>
        </p:nvSpPr>
        <p:spPr bwMode="auto">
          <a:xfrm>
            <a:off x="1619250" y="476250"/>
            <a:ext cx="7129463" cy="1143000"/>
          </a:xfrm>
          <a:prstGeom prst="rect">
            <a:avLst/>
          </a:prstGeom>
          <a:noFill/>
          <a:ln w="9525">
            <a:noFill/>
            <a:miter lim="800000"/>
            <a:headEnd/>
            <a:tailEnd/>
          </a:ln>
        </p:spPr>
        <p:txBody>
          <a:bodyPr anchor="b"/>
          <a:lstStyle/>
          <a:p>
            <a:pPr eaLnBrk="0" hangingPunct="0"/>
            <a:r>
              <a:rPr lang="fr-FR" sz="3200" b="1">
                <a:solidFill>
                  <a:srgbClr val="7F7F7F"/>
                </a:solidFill>
                <a:latin typeface="Tw Cen MT" pitchFamily="34" charset="0"/>
              </a:rPr>
              <a:t>6. NWE Implementation</a:t>
            </a:r>
            <a:endParaRPr lang="fr-FR" sz="2400" b="1" i="1">
              <a:solidFill>
                <a:srgbClr val="7F7F7F"/>
              </a:solidFill>
              <a:latin typeface="Tw Cen MT" pitchFamily="34" charset="0"/>
            </a:endParaRPr>
          </a:p>
        </p:txBody>
      </p:sp>
      <p:grpSp>
        <p:nvGrpSpPr>
          <p:cNvPr id="37891" name="Groupe 154"/>
          <p:cNvGrpSpPr>
            <a:grpSpLocks/>
          </p:cNvGrpSpPr>
          <p:nvPr/>
        </p:nvGrpSpPr>
        <p:grpSpPr bwMode="auto">
          <a:xfrm>
            <a:off x="325438" y="1746250"/>
            <a:ext cx="3865562" cy="4832350"/>
            <a:chOff x="539552" y="1268760"/>
            <a:chExt cx="3587041" cy="4961074"/>
          </a:xfrm>
        </p:grpSpPr>
        <p:grpSp>
          <p:nvGrpSpPr>
            <p:cNvPr id="5" name="Group 63"/>
            <p:cNvGrpSpPr>
              <a:grpSpLocks/>
            </p:cNvGrpSpPr>
            <p:nvPr>
              <p:custDataLst>
                <p:tags r:id="rId1"/>
              </p:custDataLst>
            </p:nvPr>
          </p:nvGrpSpPr>
          <p:grpSpPr bwMode="auto">
            <a:xfrm>
              <a:off x="2125695" y="4038024"/>
              <a:ext cx="926227" cy="1234971"/>
              <a:chOff x="2491" y="2445"/>
              <a:chExt cx="418" cy="558"/>
            </a:xfrm>
            <a:solidFill>
              <a:schemeClr val="bg1">
                <a:lumMod val="75000"/>
              </a:schemeClr>
            </a:solidFill>
          </p:grpSpPr>
          <p:grpSp>
            <p:nvGrpSpPr>
              <p:cNvPr id="56" name="Group 64"/>
              <p:cNvGrpSpPr>
                <a:grpSpLocks noChangeAspect="1"/>
              </p:cNvGrpSpPr>
              <p:nvPr/>
            </p:nvGrpSpPr>
            <p:grpSpPr bwMode="auto">
              <a:xfrm>
                <a:off x="2491" y="2445"/>
                <a:ext cx="418" cy="558"/>
                <a:chOff x="2492" y="2445"/>
                <a:chExt cx="418" cy="558"/>
              </a:xfrm>
              <a:grpFill/>
            </p:grpSpPr>
            <p:sp>
              <p:nvSpPr>
                <p:cNvPr id="58" name="Freeform 65"/>
                <p:cNvSpPr>
                  <a:spLocks noChangeAspect="1"/>
                </p:cNvSpPr>
                <p:nvPr/>
              </p:nvSpPr>
              <p:spPr bwMode="auto">
                <a:xfrm>
                  <a:off x="2606" y="2445"/>
                  <a:ext cx="12" cy="31"/>
                </a:xfrm>
                <a:custGeom>
                  <a:avLst/>
                  <a:gdLst/>
                  <a:ahLst/>
                  <a:cxnLst>
                    <a:cxn ang="0">
                      <a:pos x="6" y="0"/>
                    </a:cxn>
                    <a:cxn ang="0">
                      <a:pos x="0" y="12"/>
                    </a:cxn>
                    <a:cxn ang="0">
                      <a:pos x="3" y="31"/>
                    </a:cxn>
                    <a:cxn ang="0">
                      <a:pos x="6" y="0"/>
                    </a:cxn>
                  </a:cxnLst>
                  <a:rect l="0" t="0" r="r" b="b"/>
                  <a:pathLst>
                    <a:path w="12" h="31">
                      <a:moveTo>
                        <a:pt x="6" y="0"/>
                      </a:moveTo>
                      <a:cubicBezTo>
                        <a:pt x="5" y="4"/>
                        <a:pt x="0" y="12"/>
                        <a:pt x="0" y="12"/>
                      </a:cubicBezTo>
                      <a:cubicBezTo>
                        <a:pt x="1" y="18"/>
                        <a:pt x="2" y="25"/>
                        <a:pt x="3" y="31"/>
                      </a:cubicBezTo>
                      <a:cubicBezTo>
                        <a:pt x="12" y="22"/>
                        <a:pt x="8" y="11"/>
                        <a:pt x="6" y="0"/>
                      </a:cubicBezTo>
                      <a:close/>
                    </a:path>
                  </a:pathLst>
                </a:custGeom>
                <a:grpFill/>
                <a:ln w="3175" cap="flat" cmpd="sng">
                  <a:solidFill>
                    <a:sysClr val="window" lastClr="FFFFFF"/>
                  </a:solidFill>
                  <a:prstDash val="solid"/>
                  <a:round/>
                  <a:headEnd/>
                  <a:tailEnd/>
                </a:ln>
                <a:effectLst/>
              </p:spPr>
              <p:txBody>
                <a:bodyPr wrap="none" lIns="0" tIns="0" rIns="0" bIns="0" anchor="ctr"/>
                <a:lstStyle/>
                <a:p>
                  <a:pPr>
                    <a:defRPr/>
                  </a:pPr>
                  <a:endParaRPr lang="fr-FR">
                    <a:solidFill>
                      <a:prstClr val="black"/>
                    </a:solidFill>
                    <a:latin typeface="Arial"/>
                  </a:endParaRPr>
                </a:p>
              </p:txBody>
            </p:sp>
            <p:sp>
              <p:nvSpPr>
                <p:cNvPr id="59" name="Freeform 66"/>
                <p:cNvSpPr>
                  <a:spLocks noChangeAspect="1"/>
                </p:cNvSpPr>
                <p:nvPr/>
              </p:nvSpPr>
              <p:spPr bwMode="auto">
                <a:xfrm>
                  <a:off x="2492" y="2450"/>
                  <a:ext cx="418" cy="553"/>
                </a:xfrm>
                <a:custGeom>
                  <a:avLst/>
                  <a:gdLst/>
                  <a:ahLst/>
                  <a:cxnLst>
                    <a:cxn ang="0">
                      <a:pos x="351" y="427"/>
                    </a:cxn>
                    <a:cxn ang="0">
                      <a:pos x="335" y="412"/>
                    </a:cxn>
                    <a:cxn ang="0">
                      <a:pos x="320" y="398"/>
                    </a:cxn>
                    <a:cxn ang="0">
                      <a:pos x="303" y="379"/>
                    </a:cxn>
                    <a:cxn ang="0">
                      <a:pos x="287" y="344"/>
                    </a:cxn>
                    <a:cxn ang="0">
                      <a:pos x="313" y="328"/>
                    </a:cxn>
                    <a:cxn ang="0">
                      <a:pos x="354" y="306"/>
                    </a:cxn>
                    <a:cxn ang="0">
                      <a:pos x="371" y="298"/>
                    </a:cxn>
                    <a:cxn ang="0">
                      <a:pos x="398" y="287"/>
                    </a:cxn>
                    <a:cxn ang="0">
                      <a:pos x="411" y="263"/>
                    </a:cxn>
                    <a:cxn ang="0">
                      <a:pos x="411" y="242"/>
                    </a:cxn>
                    <a:cxn ang="0">
                      <a:pos x="393" y="214"/>
                    </a:cxn>
                    <a:cxn ang="0">
                      <a:pos x="392" y="172"/>
                    </a:cxn>
                    <a:cxn ang="0">
                      <a:pos x="381" y="154"/>
                    </a:cxn>
                    <a:cxn ang="0">
                      <a:pos x="371" y="137"/>
                    </a:cxn>
                    <a:cxn ang="0">
                      <a:pos x="371" y="86"/>
                    </a:cxn>
                    <a:cxn ang="0">
                      <a:pos x="345" y="59"/>
                    </a:cxn>
                    <a:cxn ang="0">
                      <a:pos x="326" y="44"/>
                    </a:cxn>
                    <a:cxn ang="0">
                      <a:pos x="303" y="38"/>
                    </a:cxn>
                    <a:cxn ang="0">
                      <a:pos x="254" y="61"/>
                    </a:cxn>
                    <a:cxn ang="0">
                      <a:pos x="233" y="44"/>
                    </a:cxn>
                    <a:cxn ang="0">
                      <a:pos x="195" y="37"/>
                    </a:cxn>
                    <a:cxn ang="0">
                      <a:pos x="162" y="6"/>
                    </a:cxn>
                    <a:cxn ang="0">
                      <a:pos x="129" y="1"/>
                    </a:cxn>
                    <a:cxn ang="0">
                      <a:pos x="138" y="18"/>
                    </a:cxn>
                    <a:cxn ang="0">
                      <a:pos x="141" y="46"/>
                    </a:cxn>
                    <a:cxn ang="0">
                      <a:pos x="131" y="79"/>
                    </a:cxn>
                    <a:cxn ang="0">
                      <a:pos x="117" y="103"/>
                    </a:cxn>
                    <a:cxn ang="0">
                      <a:pos x="92" y="86"/>
                    </a:cxn>
                    <a:cxn ang="0">
                      <a:pos x="63" y="113"/>
                    </a:cxn>
                    <a:cxn ang="0">
                      <a:pos x="63" y="145"/>
                    </a:cxn>
                    <a:cxn ang="0">
                      <a:pos x="51" y="167"/>
                    </a:cxn>
                    <a:cxn ang="0">
                      <a:pos x="39" y="164"/>
                    </a:cxn>
                    <a:cxn ang="0">
                      <a:pos x="57" y="185"/>
                    </a:cxn>
                    <a:cxn ang="0">
                      <a:pos x="44" y="200"/>
                    </a:cxn>
                    <a:cxn ang="0">
                      <a:pos x="9" y="220"/>
                    </a:cxn>
                    <a:cxn ang="0">
                      <a:pos x="13" y="242"/>
                    </a:cxn>
                    <a:cxn ang="0">
                      <a:pos x="0" y="280"/>
                    </a:cxn>
                    <a:cxn ang="0">
                      <a:pos x="3" y="295"/>
                    </a:cxn>
                    <a:cxn ang="0">
                      <a:pos x="18" y="328"/>
                    </a:cxn>
                    <a:cxn ang="0">
                      <a:pos x="7" y="350"/>
                    </a:cxn>
                    <a:cxn ang="0">
                      <a:pos x="18" y="392"/>
                    </a:cxn>
                    <a:cxn ang="0">
                      <a:pos x="65" y="415"/>
                    </a:cxn>
                    <a:cxn ang="0">
                      <a:pos x="102" y="434"/>
                    </a:cxn>
                    <a:cxn ang="0">
                      <a:pos x="81" y="455"/>
                    </a:cxn>
                    <a:cxn ang="0">
                      <a:pos x="66" y="509"/>
                    </a:cxn>
                    <a:cxn ang="0">
                      <a:pos x="111" y="532"/>
                    </a:cxn>
                    <a:cxn ang="0">
                      <a:pos x="111" y="514"/>
                    </a:cxn>
                    <a:cxn ang="0">
                      <a:pos x="134" y="528"/>
                    </a:cxn>
                    <a:cxn ang="0">
                      <a:pos x="157" y="526"/>
                    </a:cxn>
                    <a:cxn ang="0">
                      <a:pos x="188" y="541"/>
                    </a:cxn>
                    <a:cxn ang="0">
                      <a:pos x="204" y="553"/>
                    </a:cxn>
                    <a:cxn ang="0">
                      <a:pos x="231" y="542"/>
                    </a:cxn>
                    <a:cxn ang="0">
                      <a:pos x="258" y="540"/>
                    </a:cxn>
                    <a:cxn ang="0">
                      <a:pos x="299" y="523"/>
                    </a:cxn>
                    <a:cxn ang="0">
                      <a:pos x="324" y="527"/>
                    </a:cxn>
                    <a:cxn ang="0">
                      <a:pos x="333" y="522"/>
                    </a:cxn>
                    <a:cxn ang="0">
                      <a:pos x="320" y="490"/>
                    </a:cxn>
                    <a:cxn ang="0">
                      <a:pos x="348" y="473"/>
                    </a:cxn>
                    <a:cxn ang="0">
                      <a:pos x="369" y="444"/>
                    </a:cxn>
                  </a:cxnLst>
                  <a:rect l="0" t="0" r="r" b="b"/>
                  <a:pathLst>
                    <a:path w="418" h="553">
                      <a:moveTo>
                        <a:pt x="369" y="444"/>
                      </a:moveTo>
                      <a:cubicBezTo>
                        <a:pt x="366" y="430"/>
                        <a:pt x="362" y="428"/>
                        <a:pt x="351" y="427"/>
                      </a:cubicBezTo>
                      <a:cubicBezTo>
                        <a:pt x="349" y="423"/>
                        <a:pt x="345" y="421"/>
                        <a:pt x="342" y="418"/>
                      </a:cubicBezTo>
                      <a:cubicBezTo>
                        <a:pt x="340" y="413"/>
                        <a:pt x="339" y="414"/>
                        <a:pt x="335" y="412"/>
                      </a:cubicBezTo>
                      <a:cubicBezTo>
                        <a:pt x="332" y="410"/>
                        <a:pt x="326" y="406"/>
                        <a:pt x="326" y="406"/>
                      </a:cubicBezTo>
                      <a:cubicBezTo>
                        <a:pt x="325" y="403"/>
                        <a:pt x="322" y="400"/>
                        <a:pt x="320" y="398"/>
                      </a:cubicBezTo>
                      <a:cubicBezTo>
                        <a:pt x="318" y="396"/>
                        <a:pt x="314" y="394"/>
                        <a:pt x="314" y="394"/>
                      </a:cubicBezTo>
                      <a:cubicBezTo>
                        <a:pt x="312" y="389"/>
                        <a:pt x="306" y="385"/>
                        <a:pt x="303" y="379"/>
                      </a:cubicBezTo>
                      <a:cubicBezTo>
                        <a:pt x="301" y="369"/>
                        <a:pt x="305" y="357"/>
                        <a:pt x="294" y="353"/>
                      </a:cubicBezTo>
                      <a:cubicBezTo>
                        <a:pt x="287" y="346"/>
                        <a:pt x="289" y="350"/>
                        <a:pt x="287" y="344"/>
                      </a:cubicBezTo>
                      <a:cubicBezTo>
                        <a:pt x="288" y="335"/>
                        <a:pt x="295" y="335"/>
                        <a:pt x="303" y="330"/>
                      </a:cubicBezTo>
                      <a:cubicBezTo>
                        <a:pt x="306" y="328"/>
                        <a:pt x="313" y="328"/>
                        <a:pt x="313" y="328"/>
                      </a:cubicBezTo>
                      <a:cubicBezTo>
                        <a:pt x="314" y="326"/>
                        <a:pt x="339" y="311"/>
                        <a:pt x="343" y="310"/>
                      </a:cubicBezTo>
                      <a:cubicBezTo>
                        <a:pt x="344" y="310"/>
                        <a:pt x="353" y="306"/>
                        <a:pt x="354" y="306"/>
                      </a:cubicBezTo>
                      <a:cubicBezTo>
                        <a:pt x="356" y="305"/>
                        <a:pt x="360" y="304"/>
                        <a:pt x="360" y="304"/>
                      </a:cubicBezTo>
                      <a:cubicBezTo>
                        <a:pt x="361" y="300"/>
                        <a:pt x="371" y="298"/>
                        <a:pt x="371" y="298"/>
                      </a:cubicBezTo>
                      <a:cubicBezTo>
                        <a:pt x="375" y="294"/>
                        <a:pt x="381" y="284"/>
                        <a:pt x="384" y="283"/>
                      </a:cubicBezTo>
                      <a:cubicBezTo>
                        <a:pt x="390" y="284"/>
                        <a:pt x="393" y="285"/>
                        <a:pt x="398" y="287"/>
                      </a:cubicBezTo>
                      <a:cubicBezTo>
                        <a:pt x="407" y="286"/>
                        <a:pt x="409" y="286"/>
                        <a:pt x="416" y="282"/>
                      </a:cubicBezTo>
                      <a:cubicBezTo>
                        <a:pt x="418" y="275"/>
                        <a:pt x="417" y="267"/>
                        <a:pt x="411" y="263"/>
                      </a:cubicBezTo>
                      <a:cubicBezTo>
                        <a:pt x="410" y="258"/>
                        <a:pt x="408" y="252"/>
                        <a:pt x="414" y="250"/>
                      </a:cubicBezTo>
                      <a:cubicBezTo>
                        <a:pt x="417" y="246"/>
                        <a:pt x="418" y="240"/>
                        <a:pt x="411" y="242"/>
                      </a:cubicBezTo>
                      <a:cubicBezTo>
                        <a:pt x="403" y="241"/>
                        <a:pt x="398" y="243"/>
                        <a:pt x="395" y="236"/>
                      </a:cubicBezTo>
                      <a:cubicBezTo>
                        <a:pt x="392" y="222"/>
                        <a:pt x="395" y="224"/>
                        <a:pt x="393" y="214"/>
                      </a:cubicBezTo>
                      <a:cubicBezTo>
                        <a:pt x="398" y="199"/>
                        <a:pt x="391" y="191"/>
                        <a:pt x="387" y="185"/>
                      </a:cubicBezTo>
                      <a:cubicBezTo>
                        <a:pt x="388" y="180"/>
                        <a:pt x="389" y="176"/>
                        <a:pt x="392" y="172"/>
                      </a:cubicBezTo>
                      <a:cubicBezTo>
                        <a:pt x="393" y="167"/>
                        <a:pt x="394" y="164"/>
                        <a:pt x="389" y="161"/>
                      </a:cubicBezTo>
                      <a:cubicBezTo>
                        <a:pt x="387" y="158"/>
                        <a:pt x="381" y="154"/>
                        <a:pt x="381" y="154"/>
                      </a:cubicBezTo>
                      <a:cubicBezTo>
                        <a:pt x="378" y="150"/>
                        <a:pt x="369" y="146"/>
                        <a:pt x="369" y="146"/>
                      </a:cubicBezTo>
                      <a:cubicBezTo>
                        <a:pt x="366" y="142"/>
                        <a:pt x="366" y="139"/>
                        <a:pt x="371" y="137"/>
                      </a:cubicBezTo>
                      <a:cubicBezTo>
                        <a:pt x="372" y="134"/>
                        <a:pt x="374" y="128"/>
                        <a:pt x="374" y="128"/>
                      </a:cubicBezTo>
                      <a:cubicBezTo>
                        <a:pt x="373" y="114"/>
                        <a:pt x="383" y="94"/>
                        <a:pt x="371" y="86"/>
                      </a:cubicBezTo>
                      <a:cubicBezTo>
                        <a:pt x="368" y="81"/>
                        <a:pt x="362" y="75"/>
                        <a:pt x="357" y="72"/>
                      </a:cubicBezTo>
                      <a:cubicBezTo>
                        <a:pt x="355" y="65"/>
                        <a:pt x="352" y="61"/>
                        <a:pt x="345" y="59"/>
                      </a:cubicBezTo>
                      <a:cubicBezTo>
                        <a:pt x="342" y="55"/>
                        <a:pt x="337" y="53"/>
                        <a:pt x="333" y="52"/>
                      </a:cubicBezTo>
                      <a:cubicBezTo>
                        <a:pt x="328" y="45"/>
                        <a:pt x="331" y="47"/>
                        <a:pt x="326" y="44"/>
                      </a:cubicBezTo>
                      <a:cubicBezTo>
                        <a:pt x="326" y="40"/>
                        <a:pt x="327" y="34"/>
                        <a:pt x="321" y="34"/>
                      </a:cubicBezTo>
                      <a:cubicBezTo>
                        <a:pt x="316" y="34"/>
                        <a:pt x="308" y="36"/>
                        <a:pt x="303" y="38"/>
                      </a:cubicBezTo>
                      <a:cubicBezTo>
                        <a:pt x="291" y="43"/>
                        <a:pt x="286" y="49"/>
                        <a:pt x="273" y="52"/>
                      </a:cubicBezTo>
                      <a:cubicBezTo>
                        <a:pt x="269" y="54"/>
                        <a:pt x="254" y="61"/>
                        <a:pt x="254" y="61"/>
                      </a:cubicBezTo>
                      <a:cubicBezTo>
                        <a:pt x="252" y="65"/>
                        <a:pt x="247" y="67"/>
                        <a:pt x="243" y="68"/>
                      </a:cubicBezTo>
                      <a:cubicBezTo>
                        <a:pt x="232" y="66"/>
                        <a:pt x="238" y="51"/>
                        <a:pt x="233" y="44"/>
                      </a:cubicBezTo>
                      <a:cubicBezTo>
                        <a:pt x="230" y="34"/>
                        <a:pt x="230" y="43"/>
                        <a:pt x="222" y="38"/>
                      </a:cubicBezTo>
                      <a:cubicBezTo>
                        <a:pt x="214" y="44"/>
                        <a:pt x="204" y="39"/>
                        <a:pt x="195" y="37"/>
                      </a:cubicBezTo>
                      <a:cubicBezTo>
                        <a:pt x="190" y="30"/>
                        <a:pt x="190" y="19"/>
                        <a:pt x="183" y="14"/>
                      </a:cubicBezTo>
                      <a:cubicBezTo>
                        <a:pt x="177" y="5"/>
                        <a:pt x="175" y="7"/>
                        <a:pt x="162" y="6"/>
                      </a:cubicBezTo>
                      <a:cubicBezTo>
                        <a:pt x="154" y="4"/>
                        <a:pt x="148" y="1"/>
                        <a:pt x="140" y="0"/>
                      </a:cubicBezTo>
                      <a:cubicBezTo>
                        <a:pt x="136" y="0"/>
                        <a:pt x="132" y="0"/>
                        <a:pt x="129" y="1"/>
                      </a:cubicBezTo>
                      <a:cubicBezTo>
                        <a:pt x="128" y="1"/>
                        <a:pt x="131" y="3"/>
                        <a:pt x="131" y="4"/>
                      </a:cubicBezTo>
                      <a:cubicBezTo>
                        <a:pt x="134" y="10"/>
                        <a:pt x="133" y="15"/>
                        <a:pt x="138" y="18"/>
                      </a:cubicBezTo>
                      <a:cubicBezTo>
                        <a:pt x="140" y="23"/>
                        <a:pt x="143" y="27"/>
                        <a:pt x="146" y="31"/>
                      </a:cubicBezTo>
                      <a:cubicBezTo>
                        <a:pt x="145" y="37"/>
                        <a:pt x="144" y="41"/>
                        <a:pt x="141" y="46"/>
                      </a:cubicBezTo>
                      <a:cubicBezTo>
                        <a:pt x="142" y="51"/>
                        <a:pt x="145" y="62"/>
                        <a:pt x="145" y="62"/>
                      </a:cubicBezTo>
                      <a:cubicBezTo>
                        <a:pt x="147" y="78"/>
                        <a:pt x="144" y="75"/>
                        <a:pt x="131" y="79"/>
                      </a:cubicBezTo>
                      <a:cubicBezTo>
                        <a:pt x="127" y="83"/>
                        <a:pt x="126" y="87"/>
                        <a:pt x="122" y="91"/>
                      </a:cubicBezTo>
                      <a:cubicBezTo>
                        <a:pt x="121" y="96"/>
                        <a:pt x="122" y="100"/>
                        <a:pt x="117" y="103"/>
                      </a:cubicBezTo>
                      <a:cubicBezTo>
                        <a:pt x="110" y="101"/>
                        <a:pt x="111" y="99"/>
                        <a:pt x="105" y="95"/>
                      </a:cubicBezTo>
                      <a:cubicBezTo>
                        <a:pt x="103" y="89"/>
                        <a:pt x="97" y="89"/>
                        <a:pt x="92" y="86"/>
                      </a:cubicBezTo>
                      <a:cubicBezTo>
                        <a:pt x="81" y="87"/>
                        <a:pt x="70" y="84"/>
                        <a:pt x="66" y="95"/>
                      </a:cubicBezTo>
                      <a:cubicBezTo>
                        <a:pt x="65" y="101"/>
                        <a:pt x="64" y="107"/>
                        <a:pt x="63" y="113"/>
                      </a:cubicBezTo>
                      <a:cubicBezTo>
                        <a:pt x="63" y="117"/>
                        <a:pt x="65" y="117"/>
                        <a:pt x="65" y="122"/>
                      </a:cubicBezTo>
                      <a:cubicBezTo>
                        <a:pt x="66" y="130"/>
                        <a:pt x="66" y="137"/>
                        <a:pt x="63" y="145"/>
                      </a:cubicBezTo>
                      <a:cubicBezTo>
                        <a:pt x="61" y="149"/>
                        <a:pt x="57" y="157"/>
                        <a:pt x="57" y="157"/>
                      </a:cubicBezTo>
                      <a:cubicBezTo>
                        <a:pt x="56" y="163"/>
                        <a:pt x="57" y="166"/>
                        <a:pt x="51" y="167"/>
                      </a:cubicBezTo>
                      <a:cubicBezTo>
                        <a:pt x="50" y="165"/>
                        <a:pt x="50" y="163"/>
                        <a:pt x="49" y="161"/>
                      </a:cubicBezTo>
                      <a:cubicBezTo>
                        <a:pt x="48" y="158"/>
                        <a:pt x="39" y="164"/>
                        <a:pt x="39" y="164"/>
                      </a:cubicBezTo>
                      <a:cubicBezTo>
                        <a:pt x="42" y="174"/>
                        <a:pt x="43" y="174"/>
                        <a:pt x="53" y="176"/>
                      </a:cubicBezTo>
                      <a:cubicBezTo>
                        <a:pt x="55" y="179"/>
                        <a:pt x="57" y="185"/>
                        <a:pt x="57" y="185"/>
                      </a:cubicBezTo>
                      <a:cubicBezTo>
                        <a:pt x="57" y="188"/>
                        <a:pt x="57" y="191"/>
                        <a:pt x="56" y="194"/>
                      </a:cubicBezTo>
                      <a:cubicBezTo>
                        <a:pt x="54" y="198"/>
                        <a:pt x="44" y="200"/>
                        <a:pt x="44" y="200"/>
                      </a:cubicBezTo>
                      <a:cubicBezTo>
                        <a:pt x="41" y="204"/>
                        <a:pt x="37" y="203"/>
                        <a:pt x="42" y="206"/>
                      </a:cubicBezTo>
                      <a:cubicBezTo>
                        <a:pt x="52" y="221"/>
                        <a:pt x="21" y="219"/>
                        <a:pt x="9" y="220"/>
                      </a:cubicBezTo>
                      <a:cubicBezTo>
                        <a:pt x="7" y="227"/>
                        <a:pt x="5" y="227"/>
                        <a:pt x="11" y="224"/>
                      </a:cubicBezTo>
                      <a:cubicBezTo>
                        <a:pt x="12" y="230"/>
                        <a:pt x="11" y="236"/>
                        <a:pt x="13" y="242"/>
                      </a:cubicBezTo>
                      <a:cubicBezTo>
                        <a:pt x="14" y="244"/>
                        <a:pt x="15" y="248"/>
                        <a:pt x="15" y="248"/>
                      </a:cubicBezTo>
                      <a:cubicBezTo>
                        <a:pt x="13" y="261"/>
                        <a:pt x="11" y="273"/>
                        <a:pt x="0" y="280"/>
                      </a:cubicBezTo>
                      <a:cubicBezTo>
                        <a:pt x="4" y="281"/>
                        <a:pt x="7" y="290"/>
                        <a:pt x="7" y="290"/>
                      </a:cubicBezTo>
                      <a:cubicBezTo>
                        <a:pt x="6" y="292"/>
                        <a:pt x="3" y="293"/>
                        <a:pt x="3" y="295"/>
                      </a:cubicBezTo>
                      <a:cubicBezTo>
                        <a:pt x="2" y="300"/>
                        <a:pt x="13" y="317"/>
                        <a:pt x="17" y="319"/>
                      </a:cubicBezTo>
                      <a:cubicBezTo>
                        <a:pt x="18" y="321"/>
                        <a:pt x="21" y="326"/>
                        <a:pt x="18" y="328"/>
                      </a:cubicBezTo>
                      <a:cubicBezTo>
                        <a:pt x="16" y="330"/>
                        <a:pt x="12" y="332"/>
                        <a:pt x="12" y="332"/>
                      </a:cubicBezTo>
                      <a:cubicBezTo>
                        <a:pt x="10" y="338"/>
                        <a:pt x="9" y="344"/>
                        <a:pt x="7" y="350"/>
                      </a:cubicBezTo>
                      <a:cubicBezTo>
                        <a:pt x="7" y="356"/>
                        <a:pt x="18" y="360"/>
                        <a:pt x="21" y="367"/>
                      </a:cubicBezTo>
                      <a:cubicBezTo>
                        <a:pt x="23" y="374"/>
                        <a:pt x="15" y="385"/>
                        <a:pt x="18" y="392"/>
                      </a:cubicBezTo>
                      <a:cubicBezTo>
                        <a:pt x="20" y="395"/>
                        <a:pt x="34" y="411"/>
                        <a:pt x="38" y="412"/>
                      </a:cubicBezTo>
                      <a:cubicBezTo>
                        <a:pt x="47" y="414"/>
                        <a:pt x="55" y="414"/>
                        <a:pt x="65" y="415"/>
                      </a:cubicBezTo>
                      <a:cubicBezTo>
                        <a:pt x="75" y="417"/>
                        <a:pt x="80" y="426"/>
                        <a:pt x="90" y="428"/>
                      </a:cubicBezTo>
                      <a:cubicBezTo>
                        <a:pt x="94" y="431"/>
                        <a:pt x="98" y="431"/>
                        <a:pt x="102" y="434"/>
                      </a:cubicBezTo>
                      <a:cubicBezTo>
                        <a:pt x="101" y="440"/>
                        <a:pt x="100" y="442"/>
                        <a:pt x="96" y="446"/>
                      </a:cubicBezTo>
                      <a:cubicBezTo>
                        <a:pt x="94" y="451"/>
                        <a:pt x="83" y="450"/>
                        <a:pt x="81" y="455"/>
                      </a:cubicBezTo>
                      <a:cubicBezTo>
                        <a:pt x="78" y="461"/>
                        <a:pt x="86" y="470"/>
                        <a:pt x="80" y="474"/>
                      </a:cubicBezTo>
                      <a:cubicBezTo>
                        <a:pt x="77" y="486"/>
                        <a:pt x="68" y="496"/>
                        <a:pt x="66" y="509"/>
                      </a:cubicBezTo>
                      <a:cubicBezTo>
                        <a:pt x="67" y="542"/>
                        <a:pt x="65" y="531"/>
                        <a:pt x="90" y="533"/>
                      </a:cubicBezTo>
                      <a:cubicBezTo>
                        <a:pt x="97" y="534"/>
                        <a:pt x="104" y="533"/>
                        <a:pt x="111" y="532"/>
                      </a:cubicBezTo>
                      <a:cubicBezTo>
                        <a:pt x="121" y="527"/>
                        <a:pt x="122" y="526"/>
                        <a:pt x="111" y="522"/>
                      </a:cubicBezTo>
                      <a:cubicBezTo>
                        <a:pt x="109" y="518"/>
                        <a:pt x="106" y="516"/>
                        <a:pt x="111" y="514"/>
                      </a:cubicBezTo>
                      <a:cubicBezTo>
                        <a:pt x="116" y="515"/>
                        <a:pt x="125" y="518"/>
                        <a:pt x="125" y="518"/>
                      </a:cubicBezTo>
                      <a:cubicBezTo>
                        <a:pt x="127" y="523"/>
                        <a:pt x="129" y="526"/>
                        <a:pt x="134" y="528"/>
                      </a:cubicBezTo>
                      <a:cubicBezTo>
                        <a:pt x="141" y="526"/>
                        <a:pt x="138" y="527"/>
                        <a:pt x="143" y="524"/>
                      </a:cubicBezTo>
                      <a:cubicBezTo>
                        <a:pt x="147" y="527"/>
                        <a:pt x="152" y="525"/>
                        <a:pt x="157" y="526"/>
                      </a:cubicBezTo>
                      <a:cubicBezTo>
                        <a:pt x="161" y="530"/>
                        <a:pt x="171" y="533"/>
                        <a:pt x="176" y="536"/>
                      </a:cubicBezTo>
                      <a:cubicBezTo>
                        <a:pt x="180" y="538"/>
                        <a:pt x="184" y="540"/>
                        <a:pt x="188" y="541"/>
                      </a:cubicBezTo>
                      <a:cubicBezTo>
                        <a:pt x="189" y="541"/>
                        <a:pt x="191" y="542"/>
                        <a:pt x="191" y="542"/>
                      </a:cubicBezTo>
                      <a:cubicBezTo>
                        <a:pt x="195" y="548"/>
                        <a:pt x="197" y="551"/>
                        <a:pt x="204" y="553"/>
                      </a:cubicBezTo>
                      <a:cubicBezTo>
                        <a:pt x="215" y="551"/>
                        <a:pt x="212" y="549"/>
                        <a:pt x="215" y="539"/>
                      </a:cubicBezTo>
                      <a:cubicBezTo>
                        <a:pt x="226" y="540"/>
                        <a:pt x="224" y="536"/>
                        <a:pt x="231" y="542"/>
                      </a:cubicBezTo>
                      <a:cubicBezTo>
                        <a:pt x="234" y="544"/>
                        <a:pt x="240" y="546"/>
                        <a:pt x="240" y="546"/>
                      </a:cubicBezTo>
                      <a:cubicBezTo>
                        <a:pt x="246" y="545"/>
                        <a:pt x="254" y="545"/>
                        <a:pt x="258" y="540"/>
                      </a:cubicBezTo>
                      <a:cubicBezTo>
                        <a:pt x="259" y="539"/>
                        <a:pt x="266" y="530"/>
                        <a:pt x="267" y="530"/>
                      </a:cubicBezTo>
                      <a:cubicBezTo>
                        <a:pt x="274" y="527"/>
                        <a:pt x="292" y="523"/>
                        <a:pt x="299" y="523"/>
                      </a:cubicBezTo>
                      <a:cubicBezTo>
                        <a:pt x="302" y="524"/>
                        <a:pt x="305" y="526"/>
                        <a:pt x="308" y="527"/>
                      </a:cubicBezTo>
                      <a:cubicBezTo>
                        <a:pt x="316" y="524"/>
                        <a:pt x="312" y="521"/>
                        <a:pt x="324" y="527"/>
                      </a:cubicBezTo>
                      <a:cubicBezTo>
                        <a:pt x="328" y="529"/>
                        <a:pt x="336" y="536"/>
                        <a:pt x="336" y="536"/>
                      </a:cubicBezTo>
                      <a:cubicBezTo>
                        <a:pt x="344" y="533"/>
                        <a:pt x="338" y="524"/>
                        <a:pt x="333" y="522"/>
                      </a:cubicBezTo>
                      <a:cubicBezTo>
                        <a:pt x="331" y="514"/>
                        <a:pt x="335" y="503"/>
                        <a:pt x="327" y="498"/>
                      </a:cubicBezTo>
                      <a:cubicBezTo>
                        <a:pt x="325" y="494"/>
                        <a:pt x="324" y="491"/>
                        <a:pt x="320" y="490"/>
                      </a:cubicBezTo>
                      <a:cubicBezTo>
                        <a:pt x="323" y="488"/>
                        <a:pt x="329" y="486"/>
                        <a:pt x="329" y="486"/>
                      </a:cubicBezTo>
                      <a:cubicBezTo>
                        <a:pt x="334" y="479"/>
                        <a:pt x="341" y="478"/>
                        <a:pt x="348" y="473"/>
                      </a:cubicBezTo>
                      <a:cubicBezTo>
                        <a:pt x="352" y="460"/>
                        <a:pt x="353" y="457"/>
                        <a:pt x="367" y="455"/>
                      </a:cubicBezTo>
                      <a:cubicBezTo>
                        <a:pt x="370" y="450"/>
                        <a:pt x="374" y="447"/>
                        <a:pt x="369" y="444"/>
                      </a:cubicBezTo>
                      <a:close/>
                    </a:path>
                  </a:pathLst>
                </a:custGeom>
                <a:grpFill/>
                <a:ln w="3175" cap="flat" cmpd="sng">
                  <a:solidFill>
                    <a:sysClr val="window" lastClr="FFFFFF"/>
                  </a:solidFill>
                  <a:prstDash val="solid"/>
                  <a:round/>
                  <a:headEnd/>
                  <a:tailEnd/>
                </a:ln>
                <a:effectLst/>
              </p:spPr>
              <p:txBody>
                <a:bodyPr wrap="none" lIns="0" tIns="0" rIns="0" bIns="0" anchor="ctr"/>
                <a:lstStyle/>
                <a:p>
                  <a:pPr>
                    <a:defRPr/>
                  </a:pPr>
                  <a:endParaRPr lang="fr-FR">
                    <a:solidFill>
                      <a:prstClr val="black"/>
                    </a:solidFill>
                    <a:latin typeface="Arial"/>
                  </a:endParaRPr>
                </a:p>
              </p:txBody>
            </p:sp>
          </p:grpSp>
          <p:sp>
            <p:nvSpPr>
              <p:cNvPr id="57" name="Freeform 67"/>
              <p:cNvSpPr>
                <a:spLocks noChangeAspect="1"/>
              </p:cNvSpPr>
              <p:nvPr/>
            </p:nvSpPr>
            <p:spPr bwMode="auto">
              <a:xfrm>
                <a:off x="2812" y="2466"/>
                <a:ext cx="24" cy="19"/>
              </a:xfrm>
              <a:custGeom>
                <a:avLst/>
                <a:gdLst/>
                <a:ahLst/>
                <a:cxnLst>
                  <a:cxn ang="0">
                    <a:pos x="4" y="0"/>
                  </a:cxn>
                  <a:cxn ang="0">
                    <a:pos x="9" y="12"/>
                  </a:cxn>
                  <a:cxn ang="0">
                    <a:pos x="15" y="19"/>
                  </a:cxn>
                  <a:cxn ang="0">
                    <a:pos x="18" y="9"/>
                  </a:cxn>
                  <a:cxn ang="0">
                    <a:pos x="9" y="4"/>
                  </a:cxn>
                  <a:cxn ang="0">
                    <a:pos x="3" y="2"/>
                  </a:cxn>
                  <a:cxn ang="0">
                    <a:pos x="4" y="0"/>
                  </a:cxn>
                </a:cxnLst>
                <a:rect l="0" t="0" r="r" b="b"/>
                <a:pathLst>
                  <a:path w="24" h="19">
                    <a:moveTo>
                      <a:pt x="4" y="0"/>
                    </a:moveTo>
                    <a:cubicBezTo>
                      <a:pt x="0" y="6"/>
                      <a:pt x="4" y="9"/>
                      <a:pt x="9" y="12"/>
                    </a:cubicBezTo>
                    <a:cubicBezTo>
                      <a:pt x="11" y="16"/>
                      <a:pt x="14" y="15"/>
                      <a:pt x="15" y="19"/>
                    </a:cubicBezTo>
                    <a:cubicBezTo>
                      <a:pt x="21" y="18"/>
                      <a:pt x="24" y="15"/>
                      <a:pt x="18" y="9"/>
                    </a:cubicBezTo>
                    <a:cubicBezTo>
                      <a:pt x="16" y="6"/>
                      <a:pt x="12" y="6"/>
                      <a:pt x="9" y="4"/>
                    </a:cubicBezTo>
                    <a:cubicBezTo>
                      <a:pt x="7" y="3"/>
                      <a:pt x="2" y="4"/>
                      <a:pt x="3" y="2"/>
                    </a:cubicBezTo>
                    <a:cubicBezTo>
                      <a:pt x="3" y="1"/>
                      <a:pt x="4" y="1"/>
                      <a:pt x="4" y="0"/>
                    </a:cubicBezTo>
                    <a:close/>
                  </a:path>
                </a:pathLst>
              </a:custGeom>
              <a:grpFill/>
              <a:ln w="3175" cap="flat" cmpd="sng">
                <a:solidFill>
                  <a:sysClr val="window" lastClr="FFFFFF"/>
                </a:solidFill>
                <a:prstDash val="solid"/>
                <a:round/>
                <a:headEnd/>
                <a:tailEnd/>
              </a:ln>
              <a:effectLst/>
            </p:spPr>
            <p:txBody>
              <a:bodyPr wrap="none" lIns="0" tIns="0" rIns="0" bIns="0" anchor="ctr"/>
              <a:lstStyle/>
              <a:p>
                <a:pPr>
                  <a:defRPr/>
                </a:pPr>
                <a:endParaRPr lang="fr-FR">
                  <a:solidFill>
                    <a:prstClr val="black"/>
                  </a:solidFill>
                  <a:latin typeface="Arial"/>
                </a:endParaRPr>
              </a:p>
            </p:txBody>
          </p:sp>
        </p:grpSp>
        <p:grpSp>
          <p:nvGrpSpPr>
            <p:cNvPr id="6" name="Group 68"/>
            <p:cNvGrpSpPr>
              <a:grpSpLocks/>
            </p:cNvGrpSpPr>
            <p:nvPr>
              <p:custDataLst>
                <p:tags r:id="rId2"/>
              </p:custDataLst>
            </p:nvPr>
          </p:nvGrpSpPr>
          <p:grpSpPr bwMode="auto">
            <a:xfrm>
              <a:off x="2363761" y="3597303"/>
              <a:ext cx="659911" cy="523213"/>
              <a:chOff x="2599" y="2246"/>
              <a:chExt cx="298" cy="236"/>
            </a:xfrm>
            <a:solidFill>
              <a:schemeClr val="bg1">
                <a:lumMod val="75000"/>
              </a:schemeClr>
            </a:solidFill>
          </p:grpSpPr>
          <p:sp>
            <p:nvSpPr>
              <p:cNvPr id="51" name="Freeform 69"/>
              <p:cNvSpPr>
                <a:spLocks noChangeAspect="1"/>
              </p:cNvSpPr>
              <p:nvPr/>
            </p:nvSpPr>
            <p:spPr bwMode="auto">
              <a:xfrm>
                <a:off x="2868" y="2422"/>
                <a:ext cx="29" cy="24"/>
              </a:xfrm>
              <a:custGeom>
                <a:avLst/>
                <a:gdLst/>
                <a:ahLst/>
                <a:cxnLst>
                  <a:cxn ang="0">
                    <a:pos x="4" y="0"/>
                  </a:cxn>
                  <a:cxn ang="0">
                    <a:pos x="15" y="4"/>
                  </a:cxn>
                  <a:cxn ang="0">
                    <a:pos x="16" y="24"/>
                  </a:cxn>
                  <a:cxn ang="0">
                    <a:pos x="3" y="18"/>
                  </a:cxn>
                  <a:cxn ang="0">
                    <a:pos x="4" y="0"/>
                  </a:cxn>
                </a:cxnLst>
                <a:rect l="0" t="0" r="r" b="b"/>
                <a:pathLst>
                  <a:path w="29" h="24">
                    <a:moveTo>
                      <a:pt x="4" y="0"/>
                    </a:moveTo>
                    <a:cubicBezTo>
                      <a:pt x="8" y="2"/>
                      <a:pt x="11" y="3"/>
                      <a:pt x="15" y="4"/>
                    </a:cubicBezTo>
                    <a:cubicBezTo>
                      <a:pt x="19" y="10"/>
                      <a:pt x="29" y="21"/>
                      <a:pt x="16" y="24"/>
                    </a:cubicBezTo>
                    <a:cubicBezTo>
                      <a:pt x="11" y="23"/>
                      <a:pt x="3" y="18"/>
                      <a:pt x="3" y="18"/>
                    </a:cubicBezTo>
                    <a:cubicBezTo>
                      <a:pt x="0" y="13"/>
                      <a:pt x="4" y="6"/>
                      <a:pt x="4" y="0"/>
                    </a:cubicBez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sp>
            <p:nvSpPr>
              <p:cNvPr id="52" name="Freeform 70"/>
              <p:cNvSpPr>
                <a:spLocks noChangeAspect="1"/>
              </p:cNvSpPr>
              <p:nvPr/>
            </p:nvSpPr>
            <p:spPr bwMode="auto">
              <a:xfrm>
                <a:off x="2708" y="2364"/>
                <a:ext cx="79" cy="88"/>
              </a:xfrm>
              <a:custGeom>
                <a:avLst/>
                <a:gdLst/>
                <a:ahLst/>
                <a:cxnLst>
                  <a:cxn ang="0">
                    <a:pos x="60" y="0"/>
                  </a:cxn>
                  <a:cxn ang="0">
                    <a:pos x="49" y="8"/>
                  </a:cxn>
                  <a:cxn ang="0">
                    <a:pos x="53" y="26"/>
                  </a:cxn>
                  <a:cxn ang="0">
                    <a:pos x="52" y="32"/>
                  </a:cxn>
                  <a:cxn ang="0">
                    <a:pos x="42" y="31"/>
                  </a:cxn>
                  <a:cxn ang="0">
                    <a:pos x="40" y="21"/>
                  </a:cxn>
                  <a:cxn ang="0">
                    <a:pos x="23" y="8"/>
                  </a:cxn>
                  <a:cxn ang="0">
                    <a:pos x="17" y="26"/>
                  </a:cxn>
                  <a:cxn ang="0">
                    <a:pos x="12" y="33"/>
                  </a:cxn>
                  <a:cxn ang="0">
                    <a:pos x="19" y="67"/>
                  </a:cxn>
                  <a:cxn ang="0">
                    <a:pos x="32" y="68"/>
                  </a:cxn>
                  <a:cxn ang="0">
                    <a:pos x="40" y="72"/>
                  </a:cxn>
                  <a:cxn ang="0">
                    <a:pos x="52" y="82"/>
                  </a:cxn>
                  <a:cxn ang="0">
                    <a:pos x="61" y="88"/>
                  </a:cxn>
                  <a:cxn ang="0">
                    <a:pos x="58" y="69"/>
                  </a:cxn>
                  <a:cxn ang="0">
                    <a:pos x="70" y="61"/>
                  </a:cxn>
                  <a:cxn ang="0">
                    <a:pos x="61" y="48"/>
                  </a:cxn>
                  <a:cxn ang="0">
                    <a:pos x="76" y="39"/>
                  </a:cxn>
                  <a:cxn ang="0">
                    <a:pos x="73" y="24"/>
                  </a:cxn>
                  <a:cxn ang="0">
                    <a:pos x="76" y="10"/>
                  </a:cxn>
                  <a:cxn ang="0">
                    <a:pos x="76" y="4"/>
                  </a:cxn>
                  <a:cxn ang="0">
                    <a:pos x="60" y="0"/>
                  </a:cxn>
                </a:cxnLst>
                <a:rect l="0" t="0" r="r" b="b"/>
                <a:pathLst>
                  <a:path w="79" h="88">
                    <a:moveTo>
                      <a:pt x="60" y="0"/>
                    </a:moveTo>
                    <a:cubicBezTo>
                      <a:pt x="53" y="2"/>
                      <a:pt x="54" y="5"/>
                      <a:pt x="49" y="8"/>
                    </a:cubicBezTo>
                    <a:cubicBezTo>
                      <a:pt x="50" y="18"/>
                      <a:pt x="51" y="18"/>
                      <a:pt x="53" y="26"/>
                    </a:cubicBezTo>
                    <a:cubicBezTo>
                      <a:pt x="53" y="28"/>
                      <a:pt x="54" y="31"/>
                      <a:pt x="52" y="32"/>
                    </a:cubicBezTo>
                    <a:cubicBezTo>
                      <a:pt x="49" y="33"/>
                      <a:pt x="44" y="33"/>
                      <a:pt x="42" y="31"/>
                    </a:cubicBezTo>
                    <a:cubicBezTo>
                      <a:pt x="39" y="29"/>
                      <a:pt x="42" y="24"/>
                      <a:pt x="40" y="21"/>
                    </a:cubicBezTo>
                    <a:cubicBezTo>
                      <a:pt x="35" y="13"/>
                      <a:pt x="32" y="11"/>
                      <a:pt x="23" y="8"/>
                    </a:cubicBezTo>
                    <a:cubicBezTo>
                      <a:pt x="25" y="17"/>
                      <a:pt x="29" y="28"/>
                      <a:pt x="17" y="26"/>
                    </a:cubicBezTo>
                    <a:cubicBezTo>
                      <a:pt x="6" y="27"/>
                      <a:pt x="0" y="30"/>
                      <a:pt x="12" y="33"/>
                    </a:cubicBezTo>
                    <a:cubicBezTo>
                      <a:pt x="21" y="42"/>
                      <a:pt x="18" y="55"/>
                      <a:pt x="19" y="67"/>
                    </a:cubicBezTo>
                    <a:cubicBezTo>
                      <a:pt x="24" y="66"/>
                      <a:pt x="28" y="66"/>
                      <a:pt x="32" y="68"/>
                    </a:cubicBezTo>
                    <a:cubicBezTo>
                      <a:pt x="35" y="69"/>
                      <a:pt x="40" y="72"/>
                      <a:pt x="40" y="72"/>
                    </a:cubicBezTo>
                    <a:cubicBezTo>
                      <a:pt x="44" y="78"/>
                      <a:pt x="45" y="81"/>
                      <a:pt x="52" y="82"/>
                    </a:cubicBezTo>
                    <a:cubicBezTo>
                      <a:pt x="54" y="86"/>
                      <a:pt x="57" y="87"/>
                      <a:pt x="61" y="88"/>
                    </a:cubicBezTo>
                    <a:cubicBezTo>
                      <a:pt x="74" y="85"/>
                      <a:pt x="67" y="72"/>
                      <a:pt x="58" y="69"/>
                    </a:cubicBezTo>
                    <a:cubicBezTo>
                      <a:pt x="60" y="64"/>
                      <a:pt x="70" y="61"/>
                      <a:pt x="70" y="61"/>
                    </a:cubicBezTo>
                    <a:cubicBezTo>
                      <a:pt x="73" y="53"/>
                      <a:pt x="68" y="50"/>
                      <a:pt x="61" y="48"/>
                    </a:cubicBezTo>
                    <a:cubicBezTo>
                      <a:pt x="62" y="33"/>
                      <a:pt x="63" y="36"/>
                      <a:pt x="76" y="39"/>
                    </a:cubicBezTo>
                    <a:cubicBezTo>
                      <a:pt x="79" y="34"/>
                      <a:pt x="76" y="29"/>
                      <a:pt x="73" y="24"/>
                    </a:cubicBezTo>
                    <a:cubicBezTo>
                      <a:pt x="71" y="18"/>
                      <a:pt x="73" y="15"/>
                      <a:pt x="76" y="10"/>
                    </a:cubicBezTo>
                    <a:cubicBezTo>
                      <a:pt x="77" y="4"/>
                      <a:pt x="79" y="4"/>
                      <a:pt x="76" y="4"/>
                    </a:cubicBezTo>
                    <a:lnTo>
                      <a:pt x="60" y="0"/>
                    </a:ln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sp>
            <p:nvSpPr>
              <p:cNvPr id="53" name="Freeform 71"/>
              <p:cNvSpPr>
                <a:spLocks noChangeAspect="1"/>
              </p:cNvSpPr>
              <p:nvPr/>
            </p:nvSpPr>
            <p:spPr bwMode="auto">
              <a:xfrm>
                <a:off x="2717" y="2445"/>
                <a:ext cx="47" cy="37"/>
              </a:xfrm>
              <a:custGeom>
                <a:avLst/>
                <a:gdLst/>
                <a:ahLst/>
                <a:cxnLst>
                  <a:cxn ang="0">
                    <a:pos x="9" y="3"/>
                  </a:cxn>
                  <a:cxn ang="0">
                    <a:pos x="19" y="9"/>
                  </a:cxn>
                  <a:cxn ang="0">
                    <a:pos x="25" y="13"/>
                  </a:cxn>
                  <a:cxn ang="0">
                    <a:pos x="33" y="11"/>
                  </a:cxn>
                  <a:cxn ang="0">
                    <a:pos x="35" y="3"/>
                  </a:cxn>
                  <a:cxn ang="0">
                    <a:pos x="44" y="12"/>
                  </a:cxn>
                  <a:cxn ang="0">
                    <a:pos x="43" y="21"/>
                  </a:cxn>
                  <a:cxn ang="0">
                    <a:pos x="34" y="18"/>
                  </a:cxn>
                  <a:cxn ang="0">
                    <a:pos x="31" y="27"/>
                  </a:cxn>
                  <a:cxn ang="0">
                    <a:pos x="22" y="30"/>
                  </a:cxn>
                  <a:cxn ang="0">
                    <a:pos x="5" y="12"/>
                  </a:cxn>
                  <a:cxn ang="0">
                    <a:pos x="13" y="0"/>
                  </a:cxn>
                  <a:cxn ang="0">
                    <a:pos x="28" y="9"/>
                  </a:cxn>
                  <a:cxn ang="0">
                    <a:pos x="9" y="3"/>
                  </a:cxn>
                </a:cxnLst>
                <a:rect l="0" t="0" r="r" b="b"/>
                <a:pathLst>
                  <a:path w="47" h="37">
                    <a:moveTo>
                      <a:pt x="9" y="3"/>
                    </a:moveTo>
                    <a:cubicBezTo>
                      <a:pt x="14" y="4"/>
                      <a:pt x="15" y="6"/>
                      <a:pt x="19" y="9"/>
                    </a:cubicBezTo>
                    <a:cubicBezTo>
                      <a:pt x="21" y="10"/>
                      <a:pt x="25" y="13"/>
                      <a:pt x="25" y="13"/>
                    </a:cubicBezTo>
                    <a:cubicBezTo>
                      <a:pt x="28" y="12"/>
                      <a:pt x="31" y="13"/>
                      <a:pt x="33" y="11"/>
                    </a:cubicBezTo>
                    <a:cubicBezTo>
                      <a:pt x="35" y="9"/>
                      <a:pt x="35" y="3"/>
                      <a:pt x="35" y="3"/>
                    </a:cubicBezTo>
                    <a:cubicBezTo>
                      <a:pt x="40" y="5"/>
                      <a:pt x="40" y="9"/>
                      <a:pt x="44" y="12"/>
                    </a:cubicBezTo>
                    <a:cubicBezTo>
                      <a:pt x="47" y="16"/>
                      <a:pt x="46" y="17"/>
                      <a:pt x="43" y="21"/>
                    </a:cubicBezTo>
                    <a:cubicBezTo>
                      <a:pt x="39" y="37"/>
                      <a:pt x="37" y="26"/>
                      <a:pt x="34" y="18"/>
                    </a:cubicBezTo>
                    <a:cubicBezTo>
                      <a:pt x="34" y="20"/>
                      <a:pt x="33" y="26"/>
                      <a:pt x="31" y="27"/>
                    </a:cubicBezTo>
                    <a:cubicBezTo>
                      <a:pt x="28" y="29"/>
                      <a:pt x="22" y="30"/>
                      <a:pt x="22" y="30"/>
                    </a:cubicBezTo>
                    <a:cubicBezTo>
                      <a:pt x="18" y="27"/>
                      <a:pt x="6" y="17"/>
                      <a:pt x="5" y="12"/>
                    </a:cubicBezTo>
                    <a:cubicBezTo>
                      <a:pt x="0" y="5"/>
                      <a:pt x="5" y="2"/>
                      <a:pt x="13" y="0"/>
                    </a:cubicBezTo>
                    <a:cubicBezTo>
                      <a:pt x="19" y="2"/>
                      <a:pt x="22" y="9"/>
                      <a:pt x="28" y="9"/>
                    </a:cubicBezTo>
                    <a:lnTo>
                      <a:pt x="9" y="3"/>
                    </a:ln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sp>
            <p:nvSpPr>
              <p:cNvPr id="54" name="Freeform 72"/>
              <p:cNvSpPr>
                <a:spLocks noChangeAspect="1"/>
              </p:cNvSpPr>
              <p:nvPr/>
            </p:nvSpPr>
            <p:spPr bwMode="auto">
              <a:xfrm>
                <a:off x="2608" y="2246"/>
                <a:ext cx="95" cy="76"/>
              </a:xfrm>
              <a:custGeom>
                <a:avLst/>
                <a:gdLst/>
                <a:ahLst/>
                <a:cxnLst>
                  <a:cxn ang="0">
                    <a:pos x="0" y="72"/>
                  </a:cxn>
                  <a:cxn ang="0">
                    <a:pos x="8" y="54"/>
                  </a:cxn>
                  <a:cxn ang="0">
                    <a:pos x="14" y="46"/>
                  </a:cxn>
                  <a:cxn ang="0">
                    <a:pos x="50" y="40"/>
                  </a:cxn>
                  <a:cxn ang="0">
                    <a:pos x="57" y="29"/>
                  </a:cxn>
                  <a:cxn ang="0">
                    <a:pos x="63" y="22"/>
                  </a:cxn>
                  <a:cxn ang="0">
                    <a:pos x="81" y="10"/>
                  </a:cxn>
                  <a:cxn ang="0">
                    <a:pos x="90" y="4"/>
                  </a:cxn>
                  <a:cxn ang="0">
                    <a:pos x="93" y="1"/>
                  </a:cxn>
                  <a:cxn ang="0">
                    <a:pos x="86" y="11"/>
                  </a:cxn>
                  <a:cxn ang="0">
                    <a:pos x="93" y="22"/>
                  </a:cxn>
                  <a:cxn ang="0">
                    <a:pos x="86" y="43"/>
                  </a:cxn>
                  <a:cxn ang="0">
                    <a:pos x="84" y="46"/>
                  </a:cxn>
                  <a:cxn ang="0">
                    <a:pos x="83" y="53"/>
                  </a:cxn>
                  <a:cxn ang="0">
                    <a:pos x="80" y="47"/>
                  </a:cxn>
                  <a:cxn ang="0">
                    <a:pos x="72" y="44"/>
                  </a:cxn>
                  <a:cxn ang="0">
                    <a:pos x="48" y="49"/>
                  </a:cxn>
                  <a:cxn ang="0">
                    <a:pos x="39" y="54"/>
                  </a:cxn>
                  <a:cxn ang="0">
                    <a:pos x="29" y="52"/>
                  </a:cxn>
                  <a:cxn ang="0">
                    <a:pos x="24" y="58"/>
                  </a:cxn>
                  <a:cxn ang="0">
                    <a:pos x="18" y="60"/>
                  </a:cxn>
                  <a:cxn ang="0">
                    <a:pos x="0" y="72"/>
                  </a:cxn>
                </a:cxnLst>
                <a:rect l="0" t="0" r="r" b="b"/>
                <a:pathLst>
                  <a:path w="95" h="76">
                    <a:moveTo>
                      <a:pt x="0" y="72"/>
                    </a:moveTo>
                    <a:cubicBezTo>
                      <a:pt x="2" y="64"/>
                      <a:pt x="1" y="58"/>
                      <a:pt x="8" y="54"/>
                    </a:cubicBezTo>
                    <a:cubicBezTo>
                      <a:pt x="9" y="49"/>
                      <a:pt x="9" y="47"/>
                      <a:pt x="14" y="46"/>
                    </a:cubicBezTo>
                    <a:cubicBezTo>
                      <a:pt x="26" y="48"/>
                      <a:pt x="38" y="42"/>
                      <a:pt x="50" y="40"/>
                    </a:cubicBezTo>
                    <a:cubicBezTo>
                      <a:pt x="53" y="36"/>
                      <a:pt x="53" y="32"/>
                      <a:pt x="57" y="29"/>
                    </a:cubicBezTo>
                    <a:cubicBezTo>
                      <a:pt x="58" y="25"/>
                      <a:pt x="59" y="23"/>
                      <a:pt x="63" y="22"/>
                    </a:cubicBezTo>
                    <a:cubicBezTo>
                      <a:pt x="68" y="17"/>
                      <a:pt x="73" y="12"/>
                      <a:pt x="81" y="10"/>
                    </a:cubicBezTo>
                    <a:cubicBezTo>
                      <a:pt x="84" y="7"/>
                      <a:pt x="86" y="5"/>
                      <a:pt x="90" y="4"/>
                    </a:cubicBezTo>
                    <a:cubicBezTo>
                      <a:pt x="91" y="3"/>
                      <a:pt x="93" y="0"/>
                      <a:pt x="93" y="1"/>
                    </a:cubicBezTo>
                    <a:cubicBezTo>
                      <a:pt x="93" y="5"/>
                      <a:pt x="86" y="11"/>
                      <a:pt x="86" y="11"/>
                    </a:cubicBezTo>
                    <a:cubicBezTo>
                      <a:pt x="87" y="17"/>
                      <a:pt x="89" y="17"/>
                      <a:pt x="93" y="22"/>
                    </a:cubicBezTo>
                    <a:cubicBezTo>
                      <a:pt x="95" y="28"/>
                      <a:pt x="91" y="40"/>
                      <a:pt x="86" y="43"/>
                    </a:cubicBezTo>
                    <a:cubicBezTo>
                      <a:pt x="85" y="44"/>
                      <a:pt x="84" y="45"/>
                      <a:pt x="84" y="46"/>
                    </a:cubicBezTo>
                    <a:cubicBezTo>
                      <a:pt x="83" y="48"/>
                      <a:pt x="84" y="51"/>
                      <a:pt x="83" y="53"/>
                    </a:cubicBezTo>
                    <a:cubicBezTo>
                      <a:pt x="82" y="55"/>
                      <a:pt x="82" y="48"/>
                      <a:pt x="80" y="47"/>
                    </a:cubicBezTo>
                    <a:cubicBezTo>
                      <a:pt x="78" y="45"/>
                      <a:pt x="75" y="45"/>
                      <a:pt x="72" y="44"/>
                    </a:cubicBezTo>
                    <a:cubicBezTo>
                      <a:pt x="64" y="45"/>
                      <a:pt x="56" y="47"/>
                      <a:pt x="48" y="49"/>
                    </a:cubicBezTo>
                    <a:cubicBezTo>
                      <a:pt x="46" y="51"/>
                      <a:pt x="39" y="54"/>
                      <a:pt x="39" y="54"/>
                    </a:cubicBezTo>
                    <a:cubicBezTo>
                      <a:pt x="36" y="54"/>
                      <a:pt x="32" y="51"/>
                      <a:pt x="29" y="52"/>
                    </a:cubicBezTo>
                    <a:cubicBezTo>
                      <a:pt x="27" y="53"/>
                      <a:pt x="26" y="57"/>
                      <a:pt x="24" y="58"/>
                    </a:cubicBezTo>
                    <a:cubicBezTo>
                      <a:pt x="22" y="59"/>
                      <a:pt x="18" y="60"/>
                      <a:pt x="18" y="60"/>
                    </a:cubicBezTo>
                    <a:cubicBezTo>
                      <a:pt x="12" y="68"/>
                      <a:pt x="11" y="76"/>
                      <a:pt x="0" y="72"/>
                    </a:cubicBez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sp>
            <p:nvSpPr>
              <p:cNvPr id="55" name="Freeform 73"/>
              <p:cNvSpPr>
                <a:spLocks noChangeAspect="1"/>
              </p:cNvSpPr>
              <p:nvPr/>
            </p:nvSpPr>
            <p:spPr bwMode="auto">
              <a:xfrm>
                <a:off x="2599" y="2294"/>
                <a:ext cx="117" cy="175"/>
              </a:xfrm>
              <a:custGeom>
                <a:avLst/>
                <a:gdLst/>
                <a:ahLst/>
                <a:cxnLst>
                  <a:cxn ang="0">
                    <a:pos x="21" y="156"/>
                  </a:cxn>
                  <a:cxn ang="0">
                    <a:pos x="20" y="130"/>
                  </a:cxn>
                  <a:cxn ang="0">
                    <a:pos x="12" y="122"/>
                  </a:cxn>
                  <a:cxn ang="0">
                    <a:pos x="7" y="108"/>
                  </a:cxn>
                  <a:cxn ang="0">
                    <a:pos x="5" y="89"/>
                  </a:cxn>
                  <a:cxn ang="0">
                    <a:pos x="2" y="74"/>
                  </a:cxn>
                  <a:cxn ang="0">
                    <a:pos x="17" y="34"/>
                  </a:cxn>
                  <a:cxn ang="0">
                    <a:pos x="24" y="29"/>
                  </a:cxn>
                  <a:cxn ang="0">
                    <a:pos x="33" y="23"/>
                  </a:cxn>
                  <a:cxn ang="0">
                    <a:pos x="53" y="10"/>
                  </a:cxn>
                  <a:cxn ang="0">
                    <a:pos x="68" y="2"/>
                  </a:cxn>
                  <a:cxn ang="0">
                    <a:pos x="86" y="5"/>
                  </a:cxn>
                  <a:cxn ang="0">
                    <a:pos x="92" y="25"/>
                  </a:cxn>
                  <a:cxn ang="0">
                    <a:pos x="99" y="37"/>
                  </a:cxn>
                  <a:cxn ang="0">
                    <a:pos x="114" y="41"/>
                  </a:cxn>
                  <a:cxn ang="0">
                    <a:pos x="110" y="59"/>
                  </a:cxn>
                  <a:cxn ang="0">
                    <a:pos x="105" y="67"/>
                  </a:cxn>
                  <a:cxn ang="0">
                    <a:pos x="92" y="78"/>
                  </a:cxn>
                  <a:cxn ang="0">
                    <a:pos x="81" y="97"/>
                  </a:cxn>
                  <a:cxn ang="0">
                    <a:pos x="72" y="109"/>
                  </a:cxn>
                  <a:cxn ang="0">
                    <a:pos x="96" y="108"/>
                  </a:cxn>
                  <a:cxn ang="0">
                    <a:pos x="107" y="124"/>
                  </a:cxn>
                  <a:cxn ang="0">
                    <a:pos x="110" y="133"/>
                  </a:cxn>
                  <a:cxn ang="0">
                    <a:pos x="98" y="156"/>
                  </a:cxn>
                  <a:cxn ang="0">
                    <a:pos x="90" y="138"/>
                  </a:cxn>
                  <a:cxn ang="0">
                    <a:pos x="72" y="131"/>
                  </a:cxn>
                  <a:cxn ang="0">
                    <a:pos x="62" y="132"/>
                  </a:cxn>
                  <a:cxn ang="0">
                    <a:pos x="71" y="162"/>
                  </a:cxn>
                  <a:cxn ang="0">
                    <a:pos x="79" y="175"/>
                  </a:cxn>
                  <a:cxn ang="0">
                    <a:pos x="75" y="172"/>
                  </a:cxn>
                  <a:cxn ang="0">
                    <a:pos x="41" y="162"/>
                  </a:cxn>
                  <a:cxn ang="0">
                    <a:pos x="21" y="156"/>
                  </a:cxn>
                </a:cxnLst>
                <a:rect l="0" t="0" r="r" b="b"/>
                <a:pathLst>
                  <a:path w="117" h="175">
                    <a:moveTo>
                      <a:pt x="21" y="156"/>
                    </a:moveTo>
                    <a:cubicBezTo>
                      <a:pt x="24" y="151"/>
                      <a:pt x="20" y="134"/>
                      <a:pt x="20" y="130"/>
                    </a:cubicBezTo>
                    <a:cubicBezTo>
                      <a:pt x="17" y="124"/>
                      <a:pt x="16" y="126"/>
                      <a:pt x="12" y="122"/>
                    </a:cubicBezTo>
                    <a:cubicBezTo>
                      <a:pt x="10" y="117"/>
                      <a:pt x="8" y="113"/>
                      <a:pt x="7" y="108"/>
                    </a:cubicBezTo>
                    <a:cubicBezTo>
                      <a:pt x="6" y="101"/>
                      <a:pt x="6" y="96"/>
                      <a:pt x="5" y="89"/>
                    </a:cubicBezTo>
                    <a:cubicBezTo>
                      <a:pt x="4" y="84"/>
                      <a:pt x="2" y="74"/>
                      <a:pt x="2" y="74"/>
                    </a:cubicBezTo>
                    <a:cubicBezTo>
                      <a:pt x="11" y="65"/>
                      <a:pt x="0" y="38"/>
                      <a:pt x="17" y="34"/>
                    </a:cubicBezTo>
                    <a:cubicBezTo>
                      <a:pt x="18" y="31"/>
                      <a:pt x="24" y="29"/>
                      <a:pt x="24" y="29"/>
                    </a:cubicBezTo>
                    <a:cubicBezTo>
                      <a:pt x="27" y="26"/>
                      <a:pt x="30" y="25"/>
                      <a:pt x="33" y="23"/>
                    </a:cubicBezTo>
                    <a:cubicBezTo>
                      <a:pt x="37" y="16"/>
                      <a:pt x="46" y="12"/>
                      <a:pt x="53" y="10"/>
                    </a:cubicBezTo>
                    <a:cubicBezTo>
                      <a:pt x="57" y="6"/>
                      <a:pt x="62" y="4"/>
                      <a:pt x="68" y="2"/>
                    </a:cubicBezTo>
                    <a:cubicBezTo>
                      <a:pt x="74" y="3"/>
                      <a:pt x="83" y="0"/>
                      <a:pt x="86" y="5"/>
                    </a:cubicBezTo>
                    <a:cubicBezTo>
                      <a:pt x="89" y="10"/>
                      <a:pt x="88" y="21"/>
                      <a:pt x="92" y="25"/>
                    </a:cubicBezTo>
                    <a:cubicBezTo>
                      <a:pt x="95" y="28"/>
                      <a:pt x="99" y="37"/>
                      <a:pt x="99" y="37"/>
                    </a:cubicBezTo>
                    <a:cubicBezTo>
                      <a:pt x="101" y="39"/>
                      <a:pt x="114" y="41"/>
                      <a:pt x="114" y="41"/>
                    </a:cubicBezTo>
                    <a:cubicBezTo>
                      <a:pt x="117" y="49"/>
                      <a:pt x="116" y="53"/>
                      <a:pt x="110" y="59"/>
                    </a:cubicBezTo>
                    <a:cubicBezTo>
                      <a:pt x="108" y="66"/>
                      <a:pt x="110" y="64"/>
                      <a:pt x="105" y="67"/>
                    </a:cubicBezTo>
                    <a:cubicBezTo>
                      <a:pt x="102" y="72"/>
                      <a:pt x="97" y="75"/>
                      <a:pt x="92" y="78"/>
                    </a:cubicBezTo>
                    <a:cubicBezTo>
                      <a:pt x="89" y="84"/>
                      <a:pt x="86" y="92"/>
                      <a:pt x="81" y="97"/>
                    </a:cubicBezTo>
                    <a:cubicBezTo>
                      <a:pt x="79" y="102"/>
                      <a:pt x="72" y="109"/>
                      <a:pt x="72" y="109"/>
                    </a:cubicBezTo>
                    <a:cubicBezTo>
                      <a:pt x="69" y="119"/>
                      <a:pt x="90" y="106"/>
                      <a:pt x="96" y="108"/>
                    </a:cubicBezTo>
                    <a:cubicBezTo>
                      <a:pt x="102" y="111"/>
                      <a:pt x="102" y="117"/>
                      <a:pt x="107" y="124"/>
                    </a:cubicBezTo>
                    <a:cubicBezTo>
                      <a:pt x="109" y="127"/>
                      <a:pt x="110" y="133"/>
                      <a:pt x="110" y="133"/>
                    </a:cubicBezTo>
                    <a:cubicBezTo>
                      <a:pt x="109" y="167"/>
                      <a:pt x="117" y="162"/>
                      <a:pt x="98" y="156"/>
                    </a:cubicBezTo>
                    <a:cubicBezTo>
                      <a:pt x="96" y="153"/>
                      <a:pt x="93" y="141"/>
                      <a:pt x="90" y="138"/>
                    </a:cubicBezTo>
                    <a:cubicBezTo>
                      <a:pt x="88" y="131"/>
                      <a:pt x="78" y="133"/>
                      <a:pt x="72" y="131"/>
                    </a:cubicBezTo>
                    <a:cubicBezTo>
                      <a:pt x="69" y="131"/>
                      <a:pt x="65" y="131"/>
                      <a:pt x="62" y="132"/>
                    </a:cubicBezTo>
                    <a:cubicBezTo>
                      <a:pt x="54" y="136"/>
                      <a:pt x="66" y="159"/>
                      <a:pt x="71" y="162"/>
                    </a:cubicBezTo>
                    <a:cubicBezTo>
                      <a:pt x="74" y="169"/>
                      <a:pt x="78" y="174"/>
                      <a:pt x="79" y="175"/>
                    </a:cubicBezTo>
                    <a:cubicBezTo>
                      <a:pt x="78" y="174"/>
                      <a:pt x="76" y="173"/>
                      <a:pt x="75" y="172"/>
                    </a:cubicBezTo>
                    <a:cubicBezTo>
                      <a:pt x="70" y="158"/>
                      <a:pt x="52" y="162"/>
                      <a:pt x="41" y="162"/>
                    </a:cubicBezTo>
                    <a:cubicBezTo>
                      <a:pt x="34" y="161"/>
                      <a:pt x="28" y="158"/>
                      <a:pt x="21" y="156"/>
                    </a:cubicBez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grpSp>
        <p:sp>
          <p:nvSpPr>
            <p:cNvPr id="7" name="Freeform 74"/>
            <p:cNvSpPr>
              <a:spLocks noChangeAspect="1"/>
            </p:cNvSpPr>
            <p:nvPr>
              <p:custDataLst>
                <p:tags r:id="rId3"/>
              </p:custDataLst>
            </p:nvPr>
          </p:nvSpPr>
          <p:spPr bwMode="auto">
            <a:xfrm>
              <a:off x="539552" y="3783523"/>
              <a:ext cx="486129" cy="563907"/>
            </a:xfrm>
            <a:custGeom>
              <a:avLst/>
              <a:gdLst/>
              <a:ahLst/>
              <a:cxnLst>
                <a:cxn ang="0">
                  <a:pos x="208" y="104"/>
                </a:cxn>
                <a:cxn ang="0">
                  <a:pos x="194" y="85"/>
                </a:cxn>
                <a:cxn ang="0">
                  <a:pos x="172" y="91"/>
                </a:cxn>
                <a:cxn ang="0">
                  <a:pos x="149" y="71"/>
                </a:cxn>
                <a:cxn ang="0">
                  <a:pos x="159" y="56"/>
                </a:cxn>
                <a:cxn ang="0">
                  <a:pos x="182" y="38"/>
                </a:cxn>
                <a:cxn ang="0">
                  <a:pos x="200" y="19"/>
                </a:cxn>
                <a:cxn ang="0">
                  <a:pos x="188" y="7"/>
                </a:cxn>
                <a:cxn ang="0">
                  <a:pos x="181" y="25"/>
                </a:cxn>
                <a:cxn ang="0">
                  <a:pos x="149" y="18"/>
                </a:cxn>
                <a:cxn ang="0">
                  <a:pos x="131" y="35"/>
                </a:cxn>
                <a:cxn ang="0">
                  <a:pos x="135" y="44"/>
                </a:cxn>
                <a:cxn ang="0">
                  <a:pos x="140" y="59"/>
                </a:cxn>
                <a:cxn ang="0">
                  <a:pos x="124" y="71"/>
                </a:cxn>
                <a:cxn ang="0">
                  <a:pos x="95" y="59"/>
                </a:cxn>
                <a:cxn ang="0">
                  <a:pos x="63" y="58"/>
                </a:cxn>
                <a:cxn ang="0">
                  <a:pos x="61" y="82"/>
                </a:cxn>
                <a:cxn ang="0">
                  <a:pos x="59" y="90"/>
                </a:cxn>
                <a:cxn ang="0">
                  <a:pos x="45" y="106"/>
                </a:cxn>
                <a:cxn ang="0">
                  <a:pos x="94" y="134"/>
                </a:cxn>
                <a:cxn ang="0">
                  <a:pos x="64" y="150"/>
                </a:cxn>
                <a:cxn ang="0">
                  <a:pos x="44" y="173"/>
                </a:cxn>
                <a:cxn ang="0">
                  <a:pos x="53" y="180"/>
                </a:cxn>
                <a:cxn ang="0">
                  <a:pos x="29" y="196"/>
                </a:cxn>
                <a:cxn ang="0">
                  <a:pos x="13" y="187"/>
                </a:cxn>
                <a:cxn ang="0">
                  <a:pos x="4" y="202"/>
                </a:cxn>
                <a:cxn ang="0">
                  <a:pos x="23" y="200"/>
                </a:cxn>
                <a:cxn ang="0">
                  <a:pos x="4" y="217"/>
                </a:cxn>
                <a:cxn ang="0">
                  <a:pos x="29" y="222"/>
                </a:cxn>
                <a:cxn ang="0">
                  <a:pos x="5" y="236"/>
                </a:cxn>
                <a:cxn ang="0">
                  <a:pos x="26" y="250"/>
                </a:cxn>
                <a:cxn ang="0">
                  <a:pos x="79" y="248"/>
                </a:cxn>
                <a:cxn ang="0">
                  <a:pos x="119" y="244"/>
                </a:cxn>
                <a:cxn ang="0">
                  <a:pos x="148" y="230"/>
                </a:cxn>
                <a:cxn ang="0">
                  <a:pos x="185" y="220"/>
                </a:cxn>
                <a:cxn ang="0">
                  <a:pos x="203" y="196"/>
                </a:cxn>
                <a:cxn ang="0">
                  <a:pos x="208" y="187"/>
                </a:cxn>
                <a:cxn ang="0">
                  <a:pos x="207" y="134"/>
                </a:cxn>
                <a:cxn ang="0">
                  <a:pos x="217" y="110"/>
                </a:cxn>
              </a:cxnLst>
              <a:rect l="0" t="0" r="r" b="b"/>
              <a:pathLst>
                <a:path w="219" h="254">
                  <a:moveTo>
                    <a:pt x="217" y="110"/>
                  </a:moveTo>
                  <a:cubicBezTo>
                    <a:pt x="219" y="105"/>
                    <a:pt x="213" y="105"/>
                    <a:pt x="208" y="104"/>
                  </a:cubicBezTo>
                  <a:cubicBezTo>
                    <a:pt x="202" y="100"/>
                    <a:pt x="201" y="97"/>
                    <a:pt x="196" y="92"/>
                  </a:cubicBezTo>
                  <a:cubicBezTo>
                    <a:pt x="194" y="90"/>
                    <a:pt x="194" y="85"/>
                    <a:pt x="194" y="85"/>
                  </a:cubicBezTo>
                  <a:cubicBezTo>
                    <a:pt x="191" y="77"/>
                    <a:pt x="190" y="79"/>
                    <a:pt x="182" y="82"/>
                  </a:cubicBezTo>
                  <a:cubicBezTo>
                    <a:pt x="179" y="90"/>
                    <a:pt x="182" y="92"/>
                    <a:pt x="172" y="91"/>
                  </a:cubicBezTo>
                  <a:cubicBezTo>
                    <a:pt x="165" y="89"/>
                    <a:pt x="164" y="79"/>
                    <a:pt x="154" y="76"/>
                  </a:cubicBezTo>
                  <a:cubicBezTo>
                    <a:pt x="152" y="69"/>
                    <a:pt x="155" y="77"/>
                    <a:pt x="149" y="71"/>
                  </a:cubicBezTo>
                  <a:cubicBezTo>
                    <a:pt x="147" y="69"/>
                    <a:pt x="147" y="64"/>
                    <a:pt x="146" y="61"/>
                  </a:cubicBezTo>
                  <a:cubicBezTo>
                    <a:pt x="150" y="58"/>
                    <a:pt x="154" y="57"/>
                    <a:pt x="159" y="56"/>
                  </a:cubicBezTo>
                  <a:cubicBezTo>
                    <a:pt x="165" y="47"/>
                    <a:pt x="162" y="47"/>
                    <a:pt x="173" y="46"/>
                  </a:cubicBezTo>
                  <a:cubicBezTo>
                    <a:pt x="180" y="41"/>
                    <a:pt x="178" y="44"/>
                    <a:pt x="182" y="38"/>
                  </a:cubicBezTo>
                  <a:cubicBezTo>
                    <a:pt x="184" y="32"/>
                    <a:pt x="184" y="31"/>
                    <a:pt x="190" y="29"/>
                  </a:cubicBezTo>
                  <a:cubicBezTo>
                    <a:pt x="193" y="26"/>
                    <a:pt x="196" y="20"/>
                    <a:pt x="200" y="19"/>
                  </a:cubicBezTo>
                  <a:cubicBezTo>
                    <a:pt x="202" y="14"/>
                    <a:pt x="206" y="9"/>
                    <a:pt x="202" y="6"/>
                  </a:cubicBezTo>
                  <a:cubicBezTo>
                    <a:pt x="200" y="0"/>
                    <a:pt x="194" y="3"/>
                    <a:pt x="188" y="7"/>
                  </a:cubicBezTo>
                  <a:cubicBezTo>
                    <a:pt x="187" y="11"/>
                    <a:pt x="184" y="15"/>
                    <a:pt x="183" y="19"/>
                  </a:cubicBezTo>
                  <a:cubicBezTo>
                    <a:pt x="182" y="21"/>
                    <a:pt x="181" y="25"/>
                    <a:pt x="181" y="25"/>
                  </a:cubicBezTo>
                  <a:cubicBezTo>
                    <a:pt x="170" y="22"/>
                    <a:pt x="182" y="10"/>
                    <a:pt x="165" y="8"/>
                  </a:cubicBezTo>
                  <a:cubicBezTo>
                    <a:pt x="149" y="9"/>
                    <a:pt x="158" y="15"/>
                    <a:pt x="149" y="18"/>
                  </a:cubicBezTo>
                  <a:cubicBezTo>
                    <a:pt x="148" y="23"/>
                    <a:pt x="147" y="23"/>
                    <a:pt x="142" y="25"/>
                  </a:cubicBezTo>
                  <a:cubicBezTo>
                    <a:pt x="139" y="29"/>
                    <a:pt x="135" y="34"/>
                    <a:pt x="131" y="35"/>
                  </a:cubicBezTo>
                  <a:cubicBezTo>
                    <a:pt x="131" y="36"/>
                    <a:pt x="127" y="40"/>
                    <a:pt x="128" y="41"/>
                  </a:cubicBezTo>
                  <a:cubicBezTo>
                    <a:pt x="129" y="43"/>
                    <a:pt x="134" y="43"/>
                    <a:pt x="135" y="44"/>
                  </a:cubicBezTo>
                  <a:cubicBezTo>
                    <a:pt x="138" y="45"/>
                    <a:pt x="145" y="48"/>
                    <a:pt x="145" y="48"/>
                  </a:cubicBezTo>
                  <a:cubicBezTo>
                    <a:pt x="144" y="49"/>
                    <a:pt x="142" y="58"/>
                    <a:pt x="140" y="59"/>
                  </a:cubicBezTo>
                  <a:cubicBezTo>
                    <a:pt x="137" y="61"/>
                    <a:pt x="131" y="62"/>
                    <a:pt x="131" y="62"/>
                  </a:cubicBezTo>
                  <a:cubicBezTo>
                    <a:pt x="127" y="67"/>
                    <a:pt x="125" y="64"/>
                    <a:pt x="124" y="71"/>
                  </a:cubicBezTo>
                  <a:cubicBezTo>
                    <a:pt x="116" y="70"/>
                    <a:pt x="120" y="68"/>
                    <a:pt x="113" y="65"/>
                  </a:cubicBezTo>
                  <a:cubicBezTo>
                    <a:pt x="111" y="58"/>
                    <a:pt x="101" y="60"/>
                    <a:pt x="95" y="59"/>
                  </a:cubicBezTo>
                  <a:cubicBezTo>
                    <a:pt x="92" y="55"/>
                    <a:pt x="87" y="53"/>
                    <a:pt x="83" y="52"/>
                  </a:cubicBezTo>
                  <a:cubicBezTo>
                    <a:pt x="75" y="53"/>
                    <a:pt x="67" y="51"/>
                    <a:pt x="63" y="58"/>
                  </a:cubicBezTo>
                  <a:cubicBezTo>
                    <a:pt x="62" y="64"/>
                    <a:pt x="62" y="66"/>
                    <a:pt x="58" y="70"/>
                  </a:cubicBezTo>
                  <a:cubicBezTo>
                    <a:pt x="57" y="74"/>
                    <a:pt x="57" y="79"/>
                    <a:pt x="61" y="82"/>
                  </a:cubicBezTo>
                  <a:cubicBezTo>
                    <a:pt x="64" y="85"/>
                    <a:pt x="74" y="86"/>
                    <a:pt x="74" y="86"/>
                  </a:cubicBezTo>
                  <a:cubicBezTo>
                    <a:pt x="69" y="88"/>
                    <a:pt x="64" y="88"/>
                    <a:pt x="59" y="90"/>
                  </a:cubicBezTo>
                  <a:cubicBezTo>
                    <a:pt x="61" y="95"/>
                    <a:pt x="62" y="96"/>
                    <a:pt x="61" y="101"/>
                  </a:cubicBezTo>
                  <a:cubicBezTo>
                    <a:pt x="48" y="100"/>
                    <a:pt x="47" y="93"/>
                    <a:pt x="45" y="106"/>
                  </a:cubicBezTo>
                  <a:cubicBezTo>
                    <a:pt x="46" y="114"/>
                    <a:pt x="50" y="119"/>
                    <a:pt x="59" y="121"/>
                  </a:cubicBezTo>
                  <a:cubicBezTo>
                    <a:pt x="70" y="128"/>
                    <a:pt x="81" y="133"/>
                    <a:pt x="94" y="134"/>
                  </a:cubicBezTo>
                  <a:cubicBezTo>
                    <a:pt x="89" y="141"/>
                    <a:pt x="84" y="138"/>
                    <a:pt x="74" y="137"/>
                  </a:cubicBezTo>
                  <a:cubicBezTo>
                    <a:pt x="67" y="139"/>
                    <a:pt x="70" y="146"/>
                    <a:pt x="64" y="150"/>
                  </a:cubicBezTo>
                  <a:cubicBezTo>
                    <a:pt x="62" y="155"/>
                    <a:pt x="58" y="160"/>
                    <a:pt x="53" y="162"/>
                  </a:cubicBezTo>
                  <a:cubicBezTo>
                    <a:pt x="50" y="166"/>
                    <a:pt x="39" y="175"/>
                    <a:pt x="44" y="173"/>
                  </a:cubicBezTo>
                  <a:cubicBezTo>
                    <a:pt x="58" y="174"/>
                    <a:pt x="71" y="171"/>
                    <a:pt x="85" y="173"/>
                  </a:cubicBezTo>
                  <a:cubicBezTo>
                    <a:pt x="74" y="175"/>
                    <a:pt x="64" y="179"/>
                    <a:pt x="53" y="180"/>
                  </a:cubicBezTo>
                  <a:cubicBezTo>
                    <a:pt x="47" y="182"/>
                    <a:pt x="43" y="178"/>
                    <a:pt x="37" y="180"/>
                  </a:cubicBezTo>
                  <a:cubicBezTo>
                    <a:pt x="35" y="183"/>
                    <a:pt x="31" y="192"/>
                    <a:pt x="29" y="196"/>
                  </a:cubicBezTo>
                  <a:cubicBezTo>
                    <a:pt x="28" y="198"/>
                    <a:pt x="27" y="202"/>
                    <a:pt x="27" y="202"/>
                  </a:cubicBezTo>
                  <a:cubicBezTo>
                    <a:pt x="25" y="195"/>
                    <a:pt x="20" y="189"/>
                    <a:pt x="13" y="187"/>
                  </a:cubicBezTo>
                  <a:cubicBezTo>
                    <a:pt x="6" y="188"/>
                    <a:pt x="9" y="190"/>
                    <a:pt x="4" y="193"/>
                  </a:cubicBezTo>
                  <a:cubicBezTo>
                    <a:pt x="3" y="196"/>
                    <a:pt x="0" y="200"/>
                    <a:pt x="4" y="202"/>
                  </a:cubicBezTo>
                  <a:cubicBezTo>
                    <a:pt x="6" y="203"/>
                    <a:pt x="10" y="204"/>
                    <a:pt x="10" y="204"/>
                  </a:cubicBezTo>
                  <a:cubicBezTo>
                    <a:pt x="16" y="203"/>
                    <a:pt x="18" y="203"/>
                    <a:pt x="23" y="200"/>
                  </a:cubicBezTo>
                  <a:cubicBezTo>
                    <a:pt x="24" y="201"/>
                    <a:pt x="27" y="201"/>
                    <a:pt x="27" y="202"/>
                  </a:cubicBezTo>
                  <a:cubicBezTo>
                    <a:pt x="27" y="205"/>
                    <a:pt x="7" y="216"/>
                    <a:pt x="4" y="217"/>
                  </a:cubicBezTo>
                  <a:cubicBezTo>
                    <a:pt x="5" y="222"/>
                    <a:pt x="6" y="222"/>
                    <a:pt x="11" y="224"/>
                  </a:cubicBezTo>
                  <a:cubicBezTo>
                    <a:pt x="17" y="223"/>
                    <a:pt x="24" y="218"/>
                    <a:pt x="29" y="222"/>
                  </a:cubicBezTo>
                  <a:cubicBezTo>
                    <a:pt x="31" y="223"/>
                    <a:pt x="29" y="226"/>
                    <a:pt x="28" y="228"/>
                  </a:cubicBezTo>
                  <a:cubicBezTo>
                    <a:pt x="23" y="235"/>
                    <a:pt x="12" y="234"/>
                    <a:pt x="5" y="236"/>
                  </a:cubicBezTo>
                  <a:cubicBezTo>
                    <a:pt x="14" y="240"/>
                    <a:pt x="23" y="238"/>
                    <a:pt x="32" y="241"/>
                  </a:cubicBezTo>
                  <a:cubicBezTo>
                    <a:pt x="31" y="245"/>
                    <a:pt x="30" y="249"/>
                    <a:pt x="26" y="250"/>
                  </a:cubicBezTo>
                  <a:cubicBezTo>
                    <a:pt x="32" y="254"/>
                    <a:pt x="38" y="253"/>
                    <a:pt x="45" y="254"/>
                  </a:cubicBezTo>
                  <a:cubicBezTo>
                    <a:pt x="56" y="252"/>
                    <a:pt x="68" y="250"/>
                    <a:pt x="79" y="248"/>
                  </a:cubicBezTo>
                  <a:cubicBezTo>
                    <a:pt x="83" y="247"/>
                    <a:pt x="92" y="244"/>
                    <a:pt x="92" y="244"/>
                  </a:cubicBezTo>
                  <a:cubicBezTo>
                    <a:pt x="98" y="238"/>
                    <a:pt x="112" y="243"/>
                    <a:pt x="119" y="244"/>
                  </a:cubicBezTo>
                  <a:cubicBezTo>
                    <a:pt x="122" y="242"/>
                    <a:pt x="128" y="238"/>
                    <a:pt x="128" y="238"/>
                  </a:cubicBezTo>
                  <a:cubicBezTo>
                    <a:pt x="130" y="232"/>
                    <a:pt x="143" y="231"/>
                    <a:pt x="148" y="230"/>
                  </a:cubicBezTo>
                  <a:cubicBezTo>
                    <a:pt x="162" y="232"/>
                    <a:pt x="166" y="235"/>
                    <a:pt x="178" y="239"/>
                  </a:cubicBezTo>
                  <a:cubicBezTo>
                    <a:pt x="188" y="236"/>
                    <a:pt x="182" y="231"/>
                    <a:pt x="185" y="220"/>
                  </a:cubicBezTo>
                  <a:cubicBezTo>
                    <a:pt x="186" y="216"/>
                    <a:pt x="197" y="215"/>
                    <a:pt x="197" y="215"/>
                  </a:cubicBezTo>
                  <a:cubicBezTo>
                    <a:pt x="203" y="209"/>
                    <a:pt x="200" y="203"/>
                    <a:pt x="203" y="196"/>
                  </a:cubicBezTo>
                  <a:cubicBezTo>
                    <a:pt x="204" y="194"/>
                    <a:pt x="206" y="192"/>
                    <a:pt x="207" y="190"/>
                  </a:cubicBezTo>
                  <a:cubicBezTo>
                    <a:pt x="207" y="189"/>
                    <a:pt x="208" y="188"/>
                    <a:pt x="208" y="187"/>
                  </a:cubicBezTo>
                  <a:cubicBezTo>
                    <a:pt x="211" y="169"/>
                    <a:pt x="211" y="159"/>
                    <a:pt x="209" y="140"/>
                  </a:cubicBezTo>
                  <a:cubicBezTo>
                    <a:pt x="209" y="138"/>
                    <a:pt x="207" y="134"/>
                    <a:pt x="207" y="134"/>
                  </a:cubicBezTo>
                  <a:cubicBezTo>
                    <a:pt x="208" y="128"/>
                    <a:pt x="209" y="124"/>
                    <a:pt x="211" y="119"/>
                  </a:cubicBezTo>
                  <a:cubicBezTo>
                    <a:pt x="212" y="111"/>
                    <a:pt x="210" y="114"/>
                    <a:pt x="217" y="110"/>
                  </a:cubicBezTo>
                  <a:close/>
                </a:path>
              </a:pathLst>
            </a:custGeom>
            <a:solidFill>
              <a:schemeClr val="bg1">
                <a:lumMod val="75000"/>
              </a:schemeClr>
            </a:solid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grpSp>
          <p:nvGrpSpPr>
            <p:cNvPr id="8" name="Group 75"/>
            <p:cNvGrpSpPr>
              <a:grpSpLocks noChangeAspect="1"/>
            </p:cNvGrpSpPr>
            <p:nvPr>
              <p:custDataLst>
                <p:tags r:id="rId4"/>
              </p:custDataLst>
            </p:nvPr>
          </p:nvGrpSpPr>
          <p:grpSpPr bwMode="auto">
            <a:xfrm>
              <a:off x="2622961" y="1690627"/>
              <a:ext cx="874376" cy="2283748"/>
              <a:chOff x="2717" y="1385"/>
              <a:chExt cx="395" cy="1031"/>
            </a:xfrm>
            <a:solidFill>
              <a:schemeClr val="bg1">
                <a:lumMod val="75000"/>
              </a:schemeClr>
            </a:solidFill>
          </p:grpSpPr>
          <p:sp>
            <p:nvSpPr>
              <p:cNvPr id="48" name="Freeform 76"/>
              <p:cNvSpPr>
                <a:spLocks noChangeAspect="1"/>
              </p:cNvSpPr>
              <p:nvPr/>
            </p:nvSpPr>
            <p:spPr bwMode="auto">
              <a:xfrm>
                <a:off x="2998" y="2203"/>
                <a:ext cx="50" cy="89"/>
              </a:xfrm>
              <a:custGeom>
                <a:avLst/>
                <a:gdLst/>
                <a:ahLst/>
                <a:cxnLst>
                  <a:cxn ang="0">
                    <a:pos x="42" y="3"/>
                  </a:cxn>
                  <a:cxn ang="0">
                    <a:pos x="24" y="14"/>
                  </a:cxn>
                  <a:cxn ang="0">
                    <a:pos x="15" y="19"/>
                  </a:cxn>
                  <a:cxn ang="0">
                    <a:pos x="0" y="38"/>
                  </a:cxn>
                  <a:cxn ang="0">
                    <a:pos x="4" y="51"/>
                  </a:cxn>
                  <a:cxn ang="0">
                    <a:pos x="0" y="62"/>
                  </a:cxn>
                  <a:cxn ang="0">
                    <a:pos x="7" y="72"/>
                  </a:cxn>
                  <a:cxn ang="0">
                    <a:pos x="6" y="81"/>
                  </a:cxn>
                  <a:cxn ang="0">
                    <a:pos x="13" y="83"/>
                  </a:cxn>
                  <a:cxn ang="0">
                    <a:pos x="23" y="65"/>
                  </a:cxn>
                  <a:cxn ang="0">
                    <a:pos x="33" y="48"/>
                  </a:cxn>
                  <a:cxn ang="0">
                    <a:pos x="23" y="29"/>
                  </a:cxn>
                  <a:cxn ang="0">
                    <a:pos x="34" y="18"/>
                  </a:cxn>
                  <a:cxn ang="0">
                    <a:pos x="48" y="6"/>
                  </a:cxn>
                  <a:cxn ang="0">
                    <a:pos x="42" y="3"/>
                  </a:cxn>
                </a:cxnLst>
                <a:rect l="0" t="0" r="r" b="b"/>
                <a:pathLst>
                  <a:path w="50" h="89">
                    <a:moveTo>
                      <a:pt x="42" y="3"/>
                    </a:moveTo>
                    <a:cubicBezTo>
                      <a:pt x="27" y="4"/>
                      <a:pt x="15" y="0"/>
                      <a:pt x="24" y="14"/>
                    </a:cubicBezTo>
                    <a:cubicBezTo>
                      <a:pt x="21" y="18"/>
                      <a:pt x="20" y="18"/>
                      <a:pt x="15" y="19"/>
                    </a:cubicBezTo>
                    <a:cubicBezTo>
                      <a:pt x="7" y="24"/>
                      <a:pt x="7" y="31"/>
                      <a:pt x="0" y="38"/>
                    </a:cubicBezTo>
                    <a:cubicBezTo>
                      <a:pt x="1" y="44"/>
                      <a:pt x="2" y="46"/>
                      <a:pt x="4" y="51"/>
                    </a:cubicBezTo>
                    <a:cubicBezTo>
                      <a:pt x="3" y="55"/>
                      <a:pt x="1" y="58"/>
                      <a:pt x="0" y="62"/>
                    </a:cubicBezTo>
                    <a:cubicBezTo>
                      <a:pt x="1" y="68"/>
                      <a:pt x="1" y="70"/>
                      <a:pt x="7" y="72"/>
                    </a:cubicBezTo>
                    <a:cubicBezTo>
                      <a:pt x="10" y="76"/>
                      <a:pt x="8" y="76"/>
                      <a:pt x="6" y="81"/>
                    </a:cubicBezTo>
                    <a:cubicBezTo>
                      <a:pt x="7" y="88"/>
                      <a:pt x="9" y="89"/>
                      <a:pt x="13" y="83"/>
                    </a:cubicBezTo>
                    <a:cubicBezTo>
                      <a:pt x="15" y="71"/>
                      <a:pt x="12" y="67"/>
                      <a:pt x="23" y="65"/>
                    </a:cubicBezTo>
                    <a:cubicBezTo>
                      <a:pt x="31" y="61"/>
                      <a:pt x="27" y="54"/>
                      <a:pt x="33" y="48"/>
                    </a:cubicBezTo>
                    <a:cubicBezTo>
                      <a:pt x="30" y="40"/>
                      <a:pt x="27" y="36"/>
                      <a:pt x="23" y="29"/>
                    </a:cubicBezTo>
                    <a:cubicBezTo>
                      <a:pt x="24" y="24"/>
                      <a:pt x="29" y="21"/>
                      <a:pt x="34" y="18"/>
                    </a:cubicBezTo>
                    <a:cubicBezTo>
                      <a:pt x="37" y="8"/>
                      <a:pt x="36" y="7"/>
                      <a:pt x="48" y="6"/>
                    </a:cubicBezTo>
                    <a:cubicBezTo>
                      <a:pt x="50" y="1"/>
                      <a:pt x="50" y="3"/>
                      <a:pt x="42" y="3"/>
                    </a:cubicBez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sp>
            <p:nvSpPr>
              <p:cNvPr id="49" name="Freeform 77"/>
              <p:cNvSpPr>
                <a:spLocks noChangeAspect="1"/>
              </p:cNvSpPr>
              <p:nvPr/>
            </p:nvSpPr>
            <p:spPr bwMode="auto">
              <a:xfrm>
                <a:off x="2932" y="2263"/>
                <a:ext cx="29" cy="87"/>
              </a:xfrm>
              <a:custGeom>
                <a:avLst/>
                <a:gdLst/>
                <a:ahLst/>
                <a:cxnLst>
                  <a:cxn ang="0">
                    <a:pos x="27" y="0"/>
                  </a:cxn>
                  <a:cxn ang="0">
                    <a:pos x="19" y="15"/>
                  </a:cxn>
                  <a:cxn ang="0">
                    <a:pos x="13" y="30"/>
                  </a:cxn>
                  <a:cxn ang="0">
                    <a:pos x="7" y="38"/>
                  </a:cxn>
                  <a:cxn ang="0">
                    <a:pos x="1" y="57"/>
                  </a:cxn>
                  <a:cxn ang="0">
                    <a:pos x="9" y="78"/>
                  </a:cxn>
                  <a:cxn ang="0">
                    <a:pos x="12" y="85"/>
                  </a:cxn>
                  <a:cxn ang="0">
                    <a:pos x="24" y="32"/>
                  </a:cxn>
                  <a:cxn ang="0">
                    <a:pos x="25" y="17"/>
                  </a:cxn>
                  <a:cxn ang="0">
                    <a:pos x="29" y="8"/>
                  </a:cxn>
                  <a:cxn ang="0">
                    <a:pos x="27" y="0"/>
                  </a:cxn>
                </a:cxnLst>
                <a:rect l="0" t="0" r="r" b="b"/>
                <a:pathLst>
                  <a:path w="29" h="87">
                    <a:moveTo>
                      <a:pt x="27" y="0"/>
                    </a:moveTo>
                    <a:cubicBezTo>
                      <a:pt x="24" y="5"/>
                      <a:pt x="23" y="11"/>
                      <a:pt x="19" y="15"/>
                    </a:cubicBezTo>
                    <a:cubicBezTo>
                      <a:pt x="18" y="21"/>
                      <a:pt x="17" y="26"/>
                      <a:pt x="13" y="30"/>
                    </a:cubicBezTo>
                    <a:cubicBezTo>
                      <a:pt x="11" y="37"/>
                      <a:pt x="13" y="35"/>
                      <a:pt x="7" y="38"/>
                    </a:cubicBezTo>
                    <a:cubicBezTo>
                      <a:pt x="5" y="44"/>
                      <a:pt x="5" y="51"/>
                      <a:pt x="1" y="57"/>
                    </a:cubicBezTo>
                    <a:cubicBezTo>
                      <a:pt x="0" y="64"/>
                      <a:pt x="2" y="76"/>
                      <a:pt x="9" y="78"/>
                    </a:cubicBezTo>
                    <a:cubicBezTo>
                      <a:pt x="10" y="80"/>
                      <a:pt x="11" y="87"/>
                      <a:pt x="12" y="85"/>
                    </a:cubicBezTo>
                    <a:cubicBezTo>
                      <a:pt x="18" y="68"/>
                      <a:pt x="18" y="49"/>
                      <a:pt x="24" y="32"/>
                    </a:cubicBezTo>
                    <a:cubicBezTo>
                      <a:pt x="24" y="27"/>
                      <a:pt x="24" y="22"/>
                      <a:pt x="25" y="17"/>
                    </a:cubicBezTo>
                    <a:cubicBezTo>
                      <a:pt x="26" y="14"/>
                      <a:pt x="29" y="8"/>
                      <a:pt x="29" y="8"/>
                    </a:cubicBezTo>
                    <a:cubicBezTo>
                      <a:pt x="28" y="2"/>
                      <a:pt x="29" y="5"/>
                      <a:pt x="27" y="0"/>
                    </a:cubicBez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sp>
            <p:nvSpPr>
              <p:cNvPr id="50" name="Freeform 78"/>
              <p:cNvSpPr>
                <a:spLocks noChangeAspect="1"/>
              </p:cNvSpPr>
              <p:nvPr/>
            </p:nvSpPr>
            <p:spPr bwMode="auto">
              <a:xfrm>
                <a:off x="2717" y="1385"/>
                <a:ext cx="395" cy="1031"/>
              </a:xfrm>
              <a:custGeom>
                <a:avLst/>
                <a:gdLst/>
                <a:ahLst/>
                <a:cxnLst>
                  <a:cxn ang="0">
                    <a:pos x="240" y="3"/>
                  </a:cxn>
                  <a:cxn ang="0">
                    <a:pos x="240" y="33"/>
                  </a:cxn>
                  <a:cxn ang="0">
                    <a:pos x="188" y="73"/>
                  </a:cxn>
                  <a:cxn ang="0">
                    <a:pos x="144" y="130"/>
                  </a:cxn>
                  <a:cxn ang="0">
                    <a:pos x="135" y="193"/>
                  </a:cxn>
                  <a:cxn ang="0">
                    <a:pos x="103" y="302"/>
                  </a:cxn>
                  <a:cxn ang="0">
                    <a:pos x="92" y="331"/>
                  </a:cxn>
                  <a:cxn ang="0">
                    <a:pos x="87" y="358"/>
                  </a:cxn>
                  <a:cxn ang="0">
                    <a:pos x="74" y="393"/>
                  </a:cxn>
                  <a:cxn ang="0">
                    <a:pos x="29" y="457"/>
                  </a:cxn>
                  <a:cxn ang="0">
                    <a:pos x="38" y="563"/>
                  </a:cxn>
                  <a:cxn ang="0">
                    <a:pos x="45" y="633"/>
                  </a:cxn>
                  <a:cxn ang="0">
                    <a:pos x="40" y="702"/>
                  </a:cxn>
                  <a:cxn ang="0">
                    <a:pos x="21" y="773"/>
                  </a:cxn>
                  <a:cxn ang="0">
                    <a:pos x="3" y="771"/>
                  </a:cxn>
                  <a:cxn ang="0">
                    <a:pos x="35" y="865"/>
                  </a:cxn>
                  <a:cxn ang="0">
                    <a:pos x="69" y="926"/>
                  </a:cxn>
                  <a:cxn ang="0">
                    <a:pos x="94" y="1031"/>
                  </a:cxn>
                  <a:cxn ang="0">
                    <a:pos x="136" y="993"/>
                  </a:cxn>
                  <a:cxn ang="0">
                    <a:pos x="196" y="963"/>
                  </a:cxn>
                  <a:cxn ang="0">
                    <a:pos x="207" y="939"/>
                  </a:cxn>
                  <a:cxn ang="0">
                    <a:pos x="220" y="897"/>
                  </a:cxn>
                  <a:cxn ang="0">
                    <a:pos x="201" y="790"/>
                  </a:cxn>
                  <a:cxn ang="0">
                    <a:pos x="252" y="750"/>
                  </a:cxn>
                  <a:cxn ang="0">
                    <a:pos x="284" y="745"/>
                  </a:cxn>
                  <a:cxn ang="0">
                    <a:pos x="298" y="693"/>
                  </a:cxn>
                  <a:cxn ang="0">
                    <a:pos x="255" y="645"/>
                  </a:cxn>
                  <a:cxn ang="0">
                    <a:pos x="226" y="637"/>
                  </a:cxn>
                  <a:cxn ang="0">
                    <a:pos x="226" y="507"/>
                  </a:cxn>
                  <a:cxn ang="0">
                    <a:pos x="305" y="399"/>
                  </a:cxn>
                  <a:cxn ang="0">
                    <a:pos x="332" y="365"/>
                  </a:cxn>
                  <a:cxn ang="0">
                    <a:pos x="312" y="309"/>
                  </a:cxn>
                  <a:cxn ang="0">
                    <a:pos x="372" y="229"/>
                  </a:cxn>
                  <a:cxn ang="0">
                    <a:pos x="384" y="213"/>
                  </a:cxn>
                  <a:cxn ang="0">
                    <a:pos x="365" y="133"/>
                  </a:cxn>
                  <a:cxn ang="0">
                    <a:pos x="340" y="62"/>
                  </a:cxn>
                  <a:cxn ang="0">
                    <a:pos x="253" y="0"/>
                  </a:cxn>
                </a:cxnLst>
                <a:rect l="0" t="0" r="r" b="b"/>
                <a:pathLst>
                  <a:path w="395" h="1031">
                    <a:moveTo>
                      <a:pt x="253" y="0"/>
                    </a:moveTo>
                    <a:cubicBezTo>
                      <a:pt x="251" y="0"/>
                      <a:pt x="240" y="2"/>
                      <a:pt x="240" y="3"/>
                    </a:cubicBezTo>
                    <a:cubicBezTo>
                      <a:pt x="239" y="7"/>
                      <a:pt x="244" y="20"/>
                      <a:pt x="244" y="25"/>
                    </a:cubicBezTo>
                    <a:cubicBezTo>
                      <a:pt x="243" y="28"/>
                      <a:pt x="240" y="33"/>
                      <a:pt x="240" y="33"/>
                    </a:cubicBezTo>
                    <a:cubicBezTo>
                      <a:pt x="239" y="38"/>
                      <a:pt x="245" y="47"/>
                      <a:pt x="236" y="54"/>
                    </a:cubicBezTo>
                    <a:cubicBezTo>
                      <a:pt x="159" y="33"/>
                      <a:pt x="202" y="64"/>
                      <a:pt x="188" y="73"/>
                    </a:cubicBezTo>
                    <a:cubicBezTo>
                      <a:pt x="172" y="83"/>
                      <a:pt x="202" y="87"/>
                      <a:pt x="179" y="88"/>
                    </a:cubicBezTo>
                    <a:cubicBezTo>
                      <a:pt x="135" y="86"/>
                      <a:pt x="146" y="119"/>
                      <a:pt x="144" y="130"/>
                    </a:cubicBezTo>
                    <a:cubicBezTo>
                      <a:pt x="148" y="137"/>
                      <a:pt x="146" y="147"/>
                      <a:pt x="148" y="155"/>
                    </a:cubicBezTo>
                    <a:cubicBezTo>
                      <a:pt x="145" y="174"/>
                      <a:pt x="145" y="177"/>
                      <a:pt x="135" y="193"/>
                    </a:cubicBezTo>
                    <a:cubicBezTo>
                      <a:pt x="128" y="208"/>
                      <a:pt x="111" y="225"/>
                      <a:pt x="106" y="243"/>
                    </a:cubicBezTo>
                    <a:cubicBezTo>
                      <a:pt x="102" y="265"/>
                      <a:pt x="102" y="276"/>
                      <a:pt x="103" y="302"/>
                    </a:cubicBezTo>
                    <a:cubicBezTo>
                      <a:pt x="101" y="308"/>
                      <a:pt x="101" y="311"/>
                      <a:pt x="96" y="315"/>
                    </a:cubicBezTo>
                    <a:cubicBezTo>
                      <a:pt x="95" y="320"/>
                      <a:pt x="94" y="326"/>
                      <a:pt x="92" y="331"/>
                    </a:cubicBezTo>
                    <a:cubicBezTo>
                      <a:pt x="91" y="334"/>
                      <a:pt x="88" y="341"/>
                      <a:pt x="88" y="341"/>
                    </a:cubicBezTo>
                    <a:cubicBezTo>
                      <a:pt x="87" y="349"/>
                      <a:pt x="83" y="350"/>
                      <a:pt x="87" y="358"/>
                    </a:cubicBezTo>
                    <a:cubicBezTo>
                      <a:pt x="90" y="371"/>
                      <a:pt x="99" y="375"/>
                      <a:pt x="93" y="397"/>
                    </a:cubicBezTo>
                    <a:cubicBezTo>
                      <a:pt x="86" y="396"/>
                      <a:pt x="81" y="395"/>
                      <a:pt x="74" y="393"/>
                    </a:cubicBezTo>
                    <a:cubicBezTo>
                      <a:pt x="54" y="388"/>
                      <a:pt x="50" y="411"/>
                      <a:pt x="40" y="421"/>
                    </a:cubicBezTo>
                    <a:cubicBezTo>
                      <a:pt x="38" y="432"/>
                      <a:pt x="34" y="447"/>
                      <a:pt x="29" y="457"/>
                    </a:cubicBezTo>
                    <a:cubicBezTo>
                      <a:pt x="38" y="472"/>
                      <a:pt x="29" y="481"/>
                      <a:pt x="34" y="493"/>
                    </a:cubicBezTo>
                    <a:cubicBezTo>
                      <a:pt x="36" y="512"/>
                      <a:pt x="42" y="526"/>
                      <a:pt x="38" y="563"/>
                    </a:cubicBezTo>
                    <a:cubicBezTo>
                      <a:pt x="35" y="590"/>
                      <a:pt x="51" y="584"/>
                      <a:pt x="64" y="596"/>
                    </a:cubicBezTo>
                    <a:cubicBezTo>
                      <a:pt x="65" y="607"/>
                      <a:pt x="46" y="623"/>
                      <a:pt x="45" y="633"/>
                    </a:cubicBezTo>
                    <a:cubicBezTo>
                      <a:pt x="44" y="645"/>
                      <a:pt x="59" y="657"/>
                      <a:pt x="58" y="669"/>
                    </a:cubicBezTo>
                    <a:cubicBezTo>
                      <a:pt x="53" y="679"/>
                      <a:pt x="48" y="693"/>
                      <a:pt x="40" y="702"/>
                    </a:cubicBezTo>
                    <a:cubicBezTo>
                      <a:pt x="32" y="709"/>
                      <a:pt x="29" y="725"/>
                      <a:pt x="28" y="737"/>
                    </a:cubicBezTo>
                    <a:cubicBezTo>
                      <a:pt x="29" y="753"/>
                      <a:pt x="27" y="758"/>
                      <a:pt x="21" y="773"/>
                    </a:cubicBezTo>
                    <a:cubicBezTo>
                      <a:pt x="18" y="778"/>
                      <a:pt x="8" y="757"/>
                      <a:pt x="5" y="757"/>
                    </a:cubicBezTo>
                    <a:cubicBezTo>
                      <a:pt x="1" y="763"/>
                      <a:pt x="0" y="764"/>
                      <a:pt x="3" y="771"/>
                    </a:cubicBezTo>
                    <a:cubicBezTo>
                      <a:pt x="5" y="784"/>
                      <a:pt x="15" y="823"/>
                      <a:pt x="20" y="838"/>
                    </a:cubicBezTo>
                    <a:cubicBezTo>
                      <a:pt x="22" y="849"/>
                      <a:pt x="32" y="855"/>
                      <a:pt x="35" y="865"/>
                    </a:cubicBezTo>
                    <a:cubicBezTo>
                      <a:pt x="39" y="877"/>
                      <a:pt x="43" y="897"/>
                      <a:pt x="50" y="907"/>
                    </a:cubicBezTo>
                    <a:cubicBezTo>
                      <a:pt x="59" y="911"/>
                      <a:pt x="63" y="918"/>
                      <a:pt x="69" y="926"/>
                    </a:cubicBezTo>
                    <a:cubicBezTo>
                      <a:pt x="72" y="940"/>
                      <a:pt x="75" y="958"/>
                      <a:pt x="64" y="969"/>
                    </a:cubicBezTo>
                    <a:cubicBezTo>
                      <a:pt x="68" y="986"/>
                      <a:pt x="81" y="1021"/>
                      <a:pt x="94" y="1031"/>
                    </a:cubicBezTo>
                    <a:cubicBezTo>
                      <a:pt x="110" y="1029"/>
                      <a:pt x="124" y="1029"/>
                      <a:pt x="140" y="1027"/>
                    </a:cubicBezTo>
                    <a:cubicBezTo>
                      <a:pt x="148" y="1016"/>
                      <a:pt x="140" y="1004"/>
                      <a:pt x="136" y="993"/>
                    </a:cubicBezTo>
                    <a:cubicBezTo>
                      <a:pt x="141" y="973"/>
                      <a:pt x="160" y="970"/>
                      <a:pt x="177" y="969"/>
                    </a:cubicBezTo>
                    <a:cubicBezTo>
                      <a:pt x="184" y="966"/>
                      <a:pt x="189" y="966"/>
                      <a:pt x="196" y="963"/>
                    </a:cubicBezTo>
                    <a:cubicBezTo>
                      <a:pt x="197" y="956"/>
                      <a:pt x="201" y="951"/>
                      <a:pt x="204" y="945"/>
                    </a:cubicBezTo>
                    <a:cubicBezTo>
                      <a:pt x="205" y="943"/>
                      <a:pt x="207" y="939"/>
                      <a:pt x="207" y="939"/>
                    </a:cubicBezTo>
                    <a:cubicBezTo>
                      <a:pt x="209" y="929"/>
                      <a:pt x="212" y="918"/>
                      <a:pt x="215" y="909"/>
                    </a:cubicBezTo>
                    <a:cubicBezTo>
                      <a:pt x="216" y="905"/>
                      <a:pt x="220" y="897"/>
                      <a:pt x="220" y="897"/>
                    </a:cubicBezTo>
                    <a:cubicBezTo>
                      <a:pt x="223" y="877"/>
                      <a:pt x="220" y="851"/>
                      <a:pt x="226" y="832"/>
                    </a:cubicBezTo>
                    <a:cubicBezTo>
                      <a:pt x="224" y="801"/>
                      <a:pt x="227" y="803"/>
                      <a:pt x="201" y="790"/>
                    </a:cubicBezTo>
                    <a:cubicBezTo>
                      <a:pt x="206" y="783"/>
                      <a:pt x="227" y="780"/>
                      <a:pt x="236" y="779"/>
                    </a:cubicBezTo>
                    <a:cubicBezTo>
                      <a:pt x="248" y="772"/>
                      <a:pt x="241" y="756"/>
                      <a:pt x="252" y="750"/>
                    </a:cubicBezTo>
                    <a:cubicBezTo>
                      <a:pt x="256" y="753"/>
                      <a:pt x="257" y="760"/>
                      <a:pt x="260" y="764"/>
                    </a:cubicBezTo>
                    <a:cubicBezTo>
                      <a:pt x="271" y="760"/>
                      <a:pt x="276" y="753"/>
                      <a:pt x="284" y="745"/>
                    </a:cubicBezTo>
                    <a:cubicBezTo>
                      <a:pt x="280" y="729"/>
                      <a:pt x="264" y="732"/>
                      <a:pt x="245" y="731"/>
                    </a:cubicBezTo>
                    <a:cubicBezTo>
                      <a:pt x="247" y="722"/>
                      <a:pt x="295" y="707"/>
                      <a:pt x="298" y="693"/>
                    </a:cubicBezTo>
                    <a:cubicBezTo>
                      <a:pt x="300" y="679"/>
                      <a:pt x="283" y="659"/>
                      <a:pt x="272" y="651"/>
                    </a:cubicBezTo>
                    <a:cubicBezTo>
                      <a:pt x="271" y="644"/>
                      <a:pt x="262" y="646"/>
                      <a:pt x="255" y="645"/>
                    </a:cubicBezTo>
                    <a:cubicBezTo>
                      <a:pt x="247" y="638"/>
                      <a:pt x="253" y="642"/>
                      <a:pt x="240" y="640"/>
                    </a:cubicBezTo>
                    <a:cubicBezTo>
                      <a:pt x="235" y="639"/>
                      <a:pt x="226" y="637"/>
                      <a:pt x="226" y="637"/>
                    </a:cubicBezTo>
                    <a:cubicBezTo>
                      <a:pt x="218" y="626"/>
                      <a:pt x="221" y="632"/>
                      <a:pt x="221" y="605"/>
                    </a:cubicBezTo>
                    <a:cubicBezTo>
                      <a:pt x="221" y="585"/>
                      <a:pt x="219" y="536"/>
                      <a:pt x="226" y="507"/>
                    </a:cubicBezTo>
                    <a:cubicBezTo>
                      <a:pt x="230" y="491"/>
                      <a:pt x="240" y="477"/>
                      <a:pt x="249" y="464"/>
                    </a:cubicBezTo>
                    <a:cubicBezTo>
                      <a:pt x="266" y="441"/>
                      <a:pt x="282" y="417"/>
                      <a:pt x="305" y="399"/>
                    </a:cubicBezTo>
                    <a:cubicBezTo>
                      <a:pt x="312" y="393"/>
                      <a:pt x="317" y="387"/>
                      <a:pt x="324" y="381"/>
                    </a:cubicBezTo>
                    <a:cubicBezTo>
                      <a:pt x="331" y="369"/>
                      <a:pt x="329" y="375"/>
                      <a:pt x="332" y="365"/>
                    </a:cubicBezTo>
                    <a:cubicBezTo>
                      <a:pt x="330" y="342"/>
                      <a:pt x="344" y="349"/>
                      <a:pt x="336" y="334"/>
                    </a:cubicBezTo>
                    <a:cubicBezTo>
                      <a:pt x="335" y="327"/>
                      <a:pt x="318" y="313"/>
                      <a:pt x="312" y="309"/>
                    </a:cubicBezTo>
                    <a:cubicBezTo>
                      <a:pt x="314" y="296"/>
                      <a:pt x="334" y="264"/>
                      <a:pt x="344" y="251"/>
                    </a:cubicBezTo>
                    <a:cubicBezTo>
                      <a:pt x="350" y="241"/>
                      <a:pt x="360" y="231"/>
                      <a:pt x="372" y="229"/>
                    </a:cubicBezTo>
                    <a:cubicBezTo>
                      <a:pt x="380" y="225"/>
                      <a:pt x="386" y="229"/>
                      <a:pt x="395" y="227"/>
                    </a:cubicBezTo>
                    <a:cubicBezTo>
                      <a:pt x="388" y="225"/>
                      <a:pt x="387" y="220"/>
                      <a:pt x="384" y="213"/>
                    </a:cubicBezTo>
                    <a:cubicBezTo>
                      <a:pt x="383" y="206"/>
                      <a:pt x="377" y="199"/>
                      <a:pt x="373" y="193"/>
                    </a:cubicBezTo>
                    <a:cubicBezTo>
                      <a:pt x="370" y="173"/>
                      <a:pt x="378" y="150"/>
                      <a:pt x="365" y="133"/>
                    </a:cubicBezTo>
                    <a:cubicBezTo>
                      <a:pt x="362" y="120"/>
                      <a:pt x="351" y="107"/>
                      <a:pt x="346" y="94"/>
                    </a:cubicBezTo>
                    <a:cubicBezTo>
                      <a:pt x="345" y="80"/>
                      <a:pt x="352" y="69"/>
                      <a:pt x="340" y="62"/>
                    </a:cubicBezTo>
                    <a:cubicBezTo>
                      <a:pt x="327" y="46"/>
                      <a:pt x="304" y="36"/>
                      <a:pt x="287" y="24"/>
                    </a:cubicBezTo>
                    <a:cubicBezTo>
                      <a:pt x="276" y="16"/>
                      <a:pt x="267" y="5"/>
                      <a:pt x="253" y="0"/>
                    </a:cubicBez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grpSp>
        <p:grpSp>
          <p:nvGrpSpPr>
            <p:cNvPr id="9" name="Group 79"/>
            <p:cNvGrpSpPr>
              <a:grpSpLocks/>
            </p:cNvGrpSpPr>
            <p:nvPr>
              <p:custDataLst>
                <p:tags r:id="rId5"/>
              </p:custDataLst>
            </p:nvPr>
          </p:nvGrpSpPr>
          <p:grpSpPr bwMode="auto">
            <a:xfrm>
              <a:off x="2132757" y="1268760"/>
              <a:ext cx="1614417" cy="2283743"/>
              <a:chOff x="1955" y="-432"/>
              <a:chExt cx="2919" cy="4123"/>
            </a:xfrm>
            <a:solidFill>
              <a:schemeClr val="bg1">
                <a:lumMod val="75000"/>
              </a:schemeClr>
            </a:solidFill>
          </p:grpSpPr>
          <p:sp>
            <p:nvSpPr>
              <p:cNvPr id="46" name="Freeform 80"/>
              <p:cNvSpPr>
                <a:spLocks noChangeAspect="1"/>
              </p:cNvSpPr>
              <p:nvPr/>
            </p:nvSpPr>
            <p:spPr bwMode="auto">
              <a:xfrm>
                <a:off x="3019" y="312"/>
                <a:ext cx="392" cy="468"/>
              </a:xfrm>
              <a:custGeom>
                <a:avLst/>
                <a:gdLst/>
                <a:ahLst/>
                <a:cxnLst>
                  <a:cxn ang="0">
                    <a:pos x="14" y="94"/>
                  </a:cxn>
                  <a:cxn ang="0">
                    <a:pos x="30" y="74"/>
                  </a:cxn>
                  <a:cxn ang="0">
                    <a:pos x="39" y="74"/>
                  </a:cxn>
                  <a:cxn ang="0">
                    <a:pos x="52" y="70"/>
                  </a:cxn>
                  <a:cxn ang="0">
                    <a:pos x="56" y="60"/>
                  </a:cxn>
                  <a:cxn ang="0">
                    <a:pos x="40" y="54"/>
                  </a:cxn>
                  <a:cxn ang="0">
                    <a:pos x="60" y="33"/>
                  </a:cxn>
                  <a:cxn ang="0">
                    <a:pos x="74" y="33"/>
                  </a:cxn>
                  <a:cxn ang="0">
                    <a:pos x="79" y="0"/>
                  </a:cxn>
                  <a:cxn ang="0">
                    <a:pos x="86" y="7"/>
                  </a:cxn>
                  <a:cxn ang="0">
                    <a:pos x="79" y="21"/>
                  </a:cxn>
                  <a:cxn ang="0">
                    <a:pos x="80" y="31"/>
                  </a:cxn>
                  <a:cxn ang="0">
                    <a:pos x="84" y="37"/>
                  </a:cxn>
                  <a:cxn ang="0">
                    <a:pos x="97" y="30"/>
                  </a:cxn>
                  <a:cxn ang="0">
                    <a:pos x="85" y="51"/>
                  </a:cxn>
                  <a:cxn ang="0">
                    <a:pos x="79" y="63"/>
                  </a:cxn>
                  <a:cxn ang="0">
                    <a:pos x="56" y="82"/>
                  </a:cxn>
                  <a:cxn ang="0">
                    <a:pos x="37" y="85"/>
                  </a:cxn>
                  <a:cxn ang="0">
                    <a:pos x="31" y="94"/>
                  </a:cxn>
                  <a:cxn ang="0">
                    <a:pos x="16" y="105"/>
                  </a:cxn>
                  <a:cxn ang="0">
                    <a:pos x="6" y="114"/>
                  </a:cxn>
                  <a:cxn ang="0">
                    <a:pos x="0" y="117"/>
                  </a:cxn>
                  <a:cxn ang="0">
                    <a:pos x="14" y="94"/>
                  </a:cxn>
                </a:cxnLst>
                <a:rect l="0" t="0" r="r" b="b"/>
                <a:pathLst>
                  <a:path w="98" h="117">
                    <a:moveTo>
                      <a:pt x="14" y="94"/>
                    </a:moveTo>
                    <a:cubicBezTo>
                      <a:pt x="22" y="88"/>
                      <a:pt x="22" y="81"/>
                      <a:pt x="30" y="74"/>
                    </a:cubicBezTo>
                    <a:cubicBezTo>
                      <a:pt x="32" y="68"/>
                      <a:pt x="33" y="76"/>
                      <a:pt x="39" y="74"/>
                    </a:cubicBezTo>
                    <a:cubicBezTo>
                      <a:pt x="45" y="75"/>
                      <a:pt x="46" y="68"/>
                      <a:pt x="52" y="70"/>
                    </a:cubicBezTo>
                    <a:cubicBezTo>
                      <a:pt x="59" y="69"/>
                      <a:pt x="64" y="66"/>
                      <a:pt x="56" y="60"/>
                    </a:cubicBezTo>
                    <a:cubicBezTo>
                      <a:pt x="51" y="57"/>
                      <a:pt x="40" y="54"/>
                      <a:pt x="40" y="54"/>
                    </a:cubicBezTo>
                    <a:cubicBezTo>
                      <a:pt x="37" y="44"/>
                      <a:pt x="54" y="34"/>
                      <a:pt x="60" y="33"/>
                    </a:cubicBezTo>
                    <a:cubicBezTo>
                      <a:pt x="63" y="29"/>
                      <a:pt x="72" y="38"/>
                      <a:pt x="74" y="33"/>
                    </a:cubicBezTo>
                    <a:cubicBezTo>
                      <a:pt x="73" y="24"/>
                      <a:pt x="67" y="3"/>
                      <a:pt x="79" y="0"/>
                    </a:cubicBezTo>
                    <a:cubicBezTo>
                      <a:pt x="84" y="2"/>
                      <a:pt x="85" y="2"/>
                      <a:pt x="86" y="7"/>
                    </a:cubicBezTo>
                    <a:cubicBezTo>
                      <a:pt x="85" y="15"/>
                      <a:pt x="83" y="15"/>
                      <a:pt x="79" y="21"/>
                    </a:cubicBezTo>
                    <a:cubicBezTo>
                      <a:pt x="78" y="25"/>
                      <a:pt x="77" y="26"/>
                      <a:pt x="80" y="31"/>
                    </a:cubicBezTo>
                    <a:cubicBezTo>
                      <a:pt x="81" y="33"/>
                      <a:pt x="84" y="37"/>
                      <a:pt x="84" y="37"/>
                    </a:cubicBezTo>
                    <a:cubicBezTo>
                      <a:pt x="88" y="35"/>
                      <a:pt x="92" y="32"/>
                      <a:pt x="97" y="30"/>
                    </a:cubicBezTo>
                    <a:cubicBezTo>
                      <a:pt x="98" y="32"/>
                      <a:pt x="88" y="46"/>
                      <a:pt x="85" y="51"/>
                    </a:cubicBezTo>
                    <a:cubicBezTo>
                      <a:pt x="82" y="56"/>
                      <a:pt x="84" y="58"/>
                      <a:pt x="79" y="63"/>
                    </a:cubicBezTo>
                    <a:cubicBezTo>
                      <a:pt x="72" y="79"/>
                      <a:pt x="78" y="81"/>
                      <a:pt x="56" y="82"/>
                    </a:cubicBezTo>
                    <a:cubicBezTo>
                      <a:pt x="50" y="84"/>
                      <a:pt x="43" y="83"/>
                      <a:pt x="37" y="85"/>
                    </a:cubicBezTo>
                    <a:cubicBezTo>
                      <a:pt x="36" y="85"/>
                      <a:pt x="32" y="93"/>
                      <a:pt x="31" y="94"/>
                    </a:cubicBezTo>
                    <a:cubicBezTo>
                      <a:pt x="26" y="100"/>
                      <a:pt x="22" y="101"/>
                      <a:pt x="16" y="105"/>
                    </a:cubicBezTo>
                    <a:cubicBezTo>
                      <a:pt x="12" y="111"/>
                      <a:pt x="15" y="107"/>
                      <a:pt x="6" y="114"/>
                    </a:cubicBezTo>
                    <a:cubicBezTo>
                      <a:pt x="4" y="115"/>
                      <a:pt x="0" y="117"/>
                      <a:pt x="0" y="117"/>
                    </a:cubicBezTo>
                    <a:lnTo>
                      <a:pt x="14" y="94"/>
                    </a:ln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sp>
            <p:nvSpPr>
              <p:cNvPr id="47" name="Freeform 81"/>
              <p:cNvSpPr>
                <a:spLocks noChangeAspect="1"/>
              </p:cNvSpPr>
              <p:nvPr/>
            </p:nvSpPr>
            <p:spPr bwMode="auto">
              <a:xfrm>
                <a:off x="1955" y="-432"/>
                <a:ext cx="2919" cy="4123"/>
              </a:xfrm>
              <a:custGeom>
                <a:avLst/>
                <a:gdLst/>
                <a:ahLst/>
                <a:cxnLst>
                  <a:cxn ang="0">
                    <a:pos x="1000" y="3731"/>
                  </a:cxn>
                  <a:cxn ang="0">
                    <a:pos x="1064" y="3291"/>
                  </a:cxn>
                  <a:cxn ang="0">
                    <a:pos x="1044" y="2867"/>
                  </a:cxn>
                  <a:cxn ang="0">
                    <a:pos x="1050" y="2452"/>
                  </a:cxn>
                  <a:cxn ang="0">
                    <a:pos x="1258" y="2352"/>
                  </a:cxn>
                  <a:cxn ang="0">
                    <a:pos x="1261" y="2075"/>
                  </a:cxn>
                  <a:cxn ang="0">
                    <a:pos x="1309" y="1734"/>
                  </a:cxn>
                  <a:cxn ang="0">
                    <a:pos x="1463" y="1288"/>
                  </a:cxn>
                  <a:cxn ang="0">
                    <a:pos x="1834" y="980"/>
                  </a:cxn>
                  <a:cxn ang="0">
                    <a:pos x="1967" y="684"/>
                  </a:cxn>
                  <a:cxn ang="0">
                    <a:pos x="2443" y="676"/>
                  </a:cxn>
                  <a:cxn ang="0">
                    <a:pos x="2514" y="381"/>
                  </a:cxn>
                  <a:cxn ang="0">
                    <a:pos x="2761" y="406"/>
                  </a:cxn>
                  <a:cxn ang="0">
                    <a:pos x="2857" y="444"/>
                  </a:cxn>
                  <a:cxn ang="0">
                    <a:pos x="2695" y="268"/>
                  </a:cxn>
                  <a:cxn ang="0">
                    <a:pos x="2647" y="40"/>
                  </a:cxn>
                  <a:cxn ang="0">
                    <a:pos x="2435" y="244"/>
                  </a:cxn>
                  <a:cxn ang="0">
                    <a:pos x="2319" y="340"/>
                  </a:cxn>
                  <a:cxn ang="0">
                    <a:pos x="2183" y="168"/>
                  </a:cxn>
                  <a:cxn ang="0">
                    <a:pos x="2007" y="360"/>
                  </a:cxn>
                  <a:cxn ang="0">
                    <a:pos x="1823" y="632"/>
                  </a:cxn>
                  <a:cxn ang="0">
                    <a:pos x="1695" y="520"/>
                  </a:cxn>
                  <a:cxn ang="0">
                    <a:pos x="1675" y="648"/>
                  </a:cxn>
                  <a:cxn ang="0">
                    <a:pos x="1523" y="820"/>
                  </a:cxn>
                  <a:cxn ang="0">
                    <a:pos x="1559" y="996"/>
                  </a:cxn>
                  <a:cxn ang="0">
                    <a:pos x="1324" y="1244"/>
                  </a:cxn>
                  <a:cxn ang="0">
                    <a:pos x="1368" y="1380"/>
                  </a:cxn>
                  <a:cxn ang="0">
                    <a:pos x="1220" y="1444"/>
                  </a:cxn>
                  <a:cxn ang="0">
                    <a:pos x="1116" y="1656"/>
                  </a:cxn>
                  <a:cxn ang="0">
                    <a:pos x="1092" y="1784"/>
                  </a:cxn>
                  <a:cxn ang="0">
                    <a:pos x="1044" y="1968"/>
                  </a:cxn>
                  <a:cxn ang="0">
                    <a:pos x="976" y="2087"/>
                  </a:cxn>
                  <a:cxn ang="0">
                    <a:pos x="720" y="2375"/>
                  </a:cxn>
                  <a:cxn ang="0">
                    <a:pos x="828" y="2539"/>
                  </a:cxn>
                  <a:cxn ang="0">
                    <a:pos x="608" y="2539"/>
                  </a:cxn>
                  <a:cxn ang="0">
                    <a:pos x="496" y="2671"/>
                  </a:cxn>
                  <a:cxn ang="0">
                    <a:pos x="332" y="2791"/>
                  </a:cxn>
                  <a:cxn ang="0">
                    <a:pos x="188" y="2855"/>
                  </a:cxn>
                  <a:cxn ang="0">
                    <a:pos x="296" y="3011"/>
                  </a:cxn>
                  <a:cxn ang="0">
                    <a:pos x="216" y="3163"/>
                  </a:cxn>
                  <a:cxn ang="0">
                    <a:pos x="8" y="3295"/>
                  </a:cxn>
                  <a:cxn ang="0">
                    <a:pos x="268" y="3411"/>
                  </a:cxn>
                  <a:cxn ang="0">
                    <a:pos x="160" y="3471"/>
                  </a:cxn>
                  <a:cxn ang="0">
                    <a:pos x="112" y="3607"/>
                  </a:cxn>
                  <a:cxn ang="0">
                    <a:pos x="116" y="3679"/>
                  </a:cxn>
                  <a:cxn ang="0">
                    <a:pos x="140" y="3795"/>
                  </a:cxn>
                  <a:cxn ang="0">
                    <a:pos x="312" y="4103"/>
                  </a:cxn>
                  <a:cxn ang="0">
                    <a:pos x="660" y="3863"/>
                  </a:cxn>
                  <a:cxn ang="0">
                    <a:pos x="896" y="3739"/>
                  </a:cxn>
                </a:cxnLst>
                <a:rect l="0" t="0" r="r" b="b"/>
                <a:pathLst>
                  <a:path w="2919" h="4123">
                    <a:moveTo>
                      <a:pt x="908" y="3795"/>
                    </a:moveTo>
                    <a:cubicBezTo>
                      <a:pt x="936" y="3799"/>
                      <a:pt x="940" y="3846"/>
                      <a:pt x="969" y="3860"/>
                    </a:cubicBezTo>
                    <a:cubicBezTo>
                      <a:pt x="984" y="3828"/>
                      <a:pt x="1000" y="3779"/>
                      <a:pt x="1000" y="3731"/>
                    </a:cubicBezTo>
                    <a:cubicBezTo>
                      <a:pt x="1004" y="3695"/>
                      <a:pt x="1012" y="3591"/>
                      <a:pt x="1044" y="3575"/>
                    </a:cubicBezTo>
                    <a:cubicBezTo>
                      <a:pt x="1080" y="3527"/>
                      <a:pt x="1088" y="3503"/>
                      <a:pt x="1116" y="3447"/>
                    </a:cubicBezTo>
                    <a:cubicBezTo>
                      <a:pt x="1131" y="3395"/>
                      <a:pt x="1060" y="3339"/>
                      <a:pt x="1064" y="3291"/>
                    </a:cubicBezTo>
                    <a:cubicBezTo>
                      <a:pt x="1072" y="3259"/>
                      <a:pt x="1148" y="3192"/>
                      <a:pt x="1144" y="3152"/>
                    </a:cubicBezTo>
                    <a:cubicBezTo>
                      <a:pt x="1136" y="3128"/>
                      <a:pt x="1057" y="3114"/>
                      <a:pt x="1041" y="3066"/>
                    </a:cubicBezTo>
                    <a:cubicBezTo>
                      <a:pt x="1037" y="3010"/>
                      <a:pt x="1050" y="2922"/>
                      <a:pt x="1044" y="2867"/>
                    </a:cubicBezTo>
                    <a:cubicBezTo>
                      <a:pt x="1038" y="2795"/>
                      <a:pt x="1009" y="2712"/>
                      <a:pt x="1021" y="2658"/>
                    </a:cubicBezTo>
                    <a:cubicBezTo>
                      <a:pt x="1021" y="2606"/>
                      <a:pt x="1001" y="2620"/>
                      <a:pt x="1006" y="2586"/>
                    </a:cubicBezTo>
                    <a:cubicBezTo>
                      <a:pt x="1023" y="2550"/>
                      <a:pt x="1040" y="2479"/>
                      <a:pt x="1050" y="2452"/>
                    </a:cubicBezTo>
                    <a:cubicBezTo>
                      <a:pt x="1060" y="2425"/>
                      <a:pt x="1053" y="2442"/>
                      <a:pt x="1068" y="2423"/>
                    </a:cubicBezTo>
                    <a:cubicBezTo>
                      <a:pt x="1097" y="2381"/>
                      <a:pt x="1098" y="2363"/>
                      <a:pt x="1140" y="2336"/>
                    </a:cubicBezTo>
                    <a:cubicBezTo>
                      <a:pt x="1172" y="2324"/>
                      <a:pt x="1219" y="2351"/>
                      <a:pt x="1258" y="2352"/>
                    </a:cubicBezTo>
                    <a:cubicBezTo>
                      <a:pt x="1282" y="2291"/>
                      <a:pt x="1251" y="2230"/>
                      <a:pt x="1227" y="2178"/>
                    </a:cubicBezTo>
                    <a:cubicBezTo>
                      <a:pt x="1237" y="2136"/>
                      <a:pt x="1229" y="2151"/>
                      <a:pt x="1242" y="2118"/>
                    </a:cubicBezTo>
                    <a:cubicBezTo>
                      <a:pt x="1248" y="2101"/>
                      <a:pt x="1256" y="2090"/>
                      <a:pt x="1261" y="2075"/>
                    </a:cubicBezTo>
                    <a:cubicBezTo>
                      <a:pt x="1266" y="2060"/>
                      <a:pt x="1264" y="2041"/>
                      <a:pt x="1270" y="2025"/>
                    </a:cubicBezTo>
                    <a:cubicBezTo>
                      <a:pt x="1276" y="2009"/>
                      <a:pt x="1291" y="2027"/>
                      <a:pt x="1297" y="1979"/>
                    </a:cubicBezTo>
                    <a:cubicBezTo>
                      <a:pt x="1301" y="1899"/>
                      <a:pt x="1291" y="1804"/>
                      <a:pt x="1309" y="1734"/>
                    </a:cubicBezTo>
                    <a:cubicBezTo>
                      <a:pt x="1339" y="1683"/>
                      <a:pt x="1347" y="1664"/>
                      <a:pt x="1432" y="1528"/>
                    </a:cubicBezTo>
                    <a:cubicBezTo>
                      <a:pt x="1449" y="1493"/>
                      <a:pt x="1462" y="1497"/>
                      <a:pt x="1479" y="1391"/>
                    </a:cubicBezTo>
                    <a:cubicBezTo>
                      <a:pt x="1479" y="1340"/>
                      <a:pt x="1474" y="1332"/>
                      <a:pt x="1463" y="1288"/>
                    </a:cubicBezTo>
                    <a:cubicBezTo>
                      <a:pt x="1471" y="1170"/>
                      <a:pt x="1432" y="1122"/>
                      <a:pt x="1644" y="1113"/>
                    </a:cubicBezTo>
                    <a:cubicBezTo>
                      <a:pt x="1599" y="1074"/>
                      <a:pt x="1638" y="1067"/>
                      <a:pt x="1650" y="1047"/>
                    </a:cubicBezTo>
                    <a:cubicBezTo>
                      <a:pt x="1662" y="992"/>
                      <a:pt x="1560" y="908"/>
                      <a:pt x="1834" y="980"/>
                    </a:cubicBezTo>
                    <a:cubicBezTo>
                      <a:pt x="1866" y="972"/>
                      <a:pt x="1834" y="899"/>
                      <a:pt x="1863" y="868"/>
                    </a:cubicBezTo>
                    <a:cubicBezTo>
                      <a:pt x="1871" y="836"/>
                      <a:pt x="1845" y="806"/>
                      <a:pt x="1849" y="773"/>
                    </a:cubicBezTo>
                    <a:cubicBezTo>
                      <a:pt x="1920" y="785"/>
                      <a:pt x="1896" y="693"/>
                      <a:pt x="1967" y="684"/>
                    </a:cubicBezTo>
                    <a:cubicBezTo>
                      <a:pt x="2039" y="708"/>
                      <a:pt x="2055" y="728"/>
                      <a:pt x="2085" y="804"/>
                    </a:cubicBezTo>
                    <a:cubicBezTo>
                      <a:pt x="2166" y="816"/>
                      <a:pt x="2326" y="813"/>
                      <a:pt x="2416" y="740"/>
                    </a:cubicBezTo>
                    <a:cubicBezTo>
                      <a:pt x="2431" y="709"/>
                      <a:pt x="2423" y="720"/>
                      <a:pt x="2443" y="676"/>
                    </a:cubicBezTo>
                    <a:cubicBezTo>
                      <a:pt x="2440" y="551"/>
                      <a:pt x="2419" y="548"/>
                      <a:pt x="2419" y="504"/>
                    </a:cubicBezTo>
                    <a:cubicBezTo>
                      <a:pt x="2419" y="460"/>
                      <a:pt x="2426" y="432"/>
                      <a:pt x="2442" y="412"/>
                    </a:cubicBezTo>
                    <a:cubicBezTo>
                      <a:pt x="2458" y="392"/>
                      <a:pt x="2460" y="387"/>
                      <a:pt x="2514" y="381"/>
                    </a:cubicBezTo>
                    <a:cubicBezTo>
                      <a:pt x="2542" y="324"/>
                      <a:pt x="2521" y="323"/>
                      <a:pt x="2578" y="310"/>
                    </a:cubicBezTo>
                    <a:cubicBezTo>
                      <a:pt x="2622" y="334"/>
                      <a:pt x="2673" y="357"/>
                      <a:pt x="2700" y="385"/>
                    </a:cubicBezTo>
                    <a:cubicBezTo>
                      <a:pt x="2724" y="388"/>
                      <a:pt x="2745" y="394"/>
                      <a:pt x="2761" y="406"/>
                    </a:cubicBezTo>
                    <a:cubicBezTo>
                      <a:pt x="2772" y="422"/>
                      <a:pt x="2775" y="456"/>
                      <a:pt x="2778" y="482"/>
                    </a:cubicBezTo>
                    <a:cubicBezTo>
                      <a:pt x="2772" y="510"/>
                      <a:pt x="2760" y="525"/>
                      <a:pt x="2766" y="575"/>
                    </a:cubicBezTo>
                    <a:cubicBezTo>
                      <a:pt x="2791" y="551"/>
                      <a:pt x="2833" y="468"/>
                      <a:pt x="2857" y="444"/>
                    </a:cubicBezTo>
                    <a:cubicBezTo>
                      <a:pt x="2865" y="408"/>
                      <a:pt x="2907" y="376"/>
                      <a:pt x="2915" y="340"/>
                    </a:cubicBezTo>
                    <a:cubicBezTo>
                      <a:pt x="2907" y="280"/>
                      <a:pt x="2859" y="296"/>
                      <a:pt x="2799" y="292"/>
                    </a:cubicBezTo>
                    <a:cubicBezTo>
                      <a:pt x="2763" y="280"/>
                      <a:pt x="2683" y="292"/>
                      <a:pt x="2695" y="268"/>
                    </a:cubicBezTo>
                    <a:cubicBezTo>
                      <a:pt x="2755" y="224"/>
                      <a:pt x="2823" y="240"/>
                      <a:pt x="2879" y="184"/>
                    </a:cubicBezTo>
                    <a:cubicBezTo>
                      <a:pt x="2919" y="144"/>
                      <a:pt x="2823" y="80"/>
                      <a:pt x="2803" y="80"/>
                    </a:cubicBezTo>
                    <a:cubicBezTo>
                      <a:pt x="2663" y="48"/>
                      <a:pt x="2751" y="40"/>
                      <a:pt x="2647" y="40"/>
                    </a:cubicBezTo>
                    <a:cubicBezTo>
                      <a:pt x="2643" y="52"/>
                      <a:pt x="2563" y="160"/>
                      <a:pt x="2563" y="160"/>
                    </a:cubicBezTo>
                    <a:cubicBezTo>
                      <a:pt x="2555" y="168"/>
                      <a:pt x="2527" y="0"/>
                      <a:pt x="2511" y="4"/>
                    </a:cubicBezTo>
                    <a:cubicBezTo>
                      <a:pt x="2491" y="20"/>
                      <a:pt x="2447" y="224"/>
                      <a:pt x="2435" y="244"/>
                    </a:cubicBezTo>
                    <a:cubicBezTo>
                      <a:pt x="2423" y="308"/>
                      <a:pt x="2427" y="136"/>
                      <a:pt x="2407" y="112"/>
                    </a:cubicBezTo>
                    <a:cubicBezTo>
                      <a:pt x="2399" y="148"/>
                      <a:pt x="2375" y="256"/>
                      <a:pt x="2359" y="292"/>
                    </a:cubicBezTo>
                    <a:cubicBezTo>
                      <a:pt x="2343" y="320"/>
                      <a:pt x="2335" y="320"/>
                      <a:pt x="2319" y="340"/>
                    </a:cubicBezTo>
                    <a:cubicBezTo>
                      <a:pt x="2307" y="352"/>
                      <a:pt x="2287" y="380"/>
                      <a:pt x="2287" y="380"/>
                    </a:cubicBezTo>
                    <a:cubicBezTo>
                      <a:pt x="2287" y="296"/>
                      <a:pt x="2323" y="132"/>
                      <a:pt x="2319" y="48"/>
                    </a:cubicBezTo>
                    <a:cubicBezTo>
                      <a:pt x="2319" y="40"/>
                      <a:pt x="2199" y="164"/>
                      <a:pt x="2183" y="168"/>
                    </a:cubicBezTo>
                    <a:cubicBezTo>
                      <a:pt x="2159" y="192"/>
                      <a:pt x="2131" y="200"/>
                      <a:pt x="2099" y="212"/>
                    </a:cubicBezTo>
                    <a:cubicBezTo>
                      <a:pt x="2071" y="248"/>
                      <a:pt x="2059" y="276"/>
                      <a:pt x="2039" y="312"/>
                    </a:cubicBezTo>
                    <a:cubicBezTo>
                      <a:pt x="2031" y="328"/>
                      <a:pt x="2007" y="360"/>
                      <a:pt x="2007" y="360"/>
                    </a:cubicBezTo>
                    <a:cubicBezTo>
                      <a:pt x="1999" y="408"/>
                      <a:pt x="2011" y="484"/>
                      <a:pt x="1951" y="492"/>
                    </a:cubicBezTo>
                    <a:cubicBezTo>
                      <a:pt x="1923" y="480"/>
                      <a:pt x="1907" y="484"/>
                      <a:pt x="1883" y="500"/>
                    </a:cubicBezTo>
                    <a:cubicBezTo>
                      <a:pt x="1859" y="544"/>
                      <a:pt x="1875" y="604"/>
                      <a:pt x="1823" y="632"/>
                    </a:cubicBezTo>
                    <a:cubicBezTo>
                      <a:pt x="1807" y="604"/>
                      <a:pt x="1835" y="564"/>
                      <a:pt x="1815" y="540"/>
                    </a:cubicBezTo>
                    <a:cubicBezTo>
                      <a:pt x="1811" y="512"/>
                      <a:pt x="1787" y="452"/>
                      <a:pt x="1763" y="440"/>
                    </a:cubicBezTo>
                    <a:cubicBezTo>
                      <a:pt x="1723" y="448"/>
                      <a:pt x="1703" y="480"/>
                      <a:pt x="1695" y="520"/>
                    </a:cubicBezTo>
                    <a:cubicBezTo>
                      <a:pt x="1695" y="568"/>
                      <a:pt x="1691" y="648"/>
                      <a:pt x="1723" y="692"/>
                    </a:cubicBezTo>
                    <a:cubicBezTo>
                      <a:pt x="1715" y="708"/>
                      <a:pt x="1715" y="716"/>
                      <a:pt x="1699" y="700"/>
                    </a:cubicBezTo>
                    <a:cubicBezTo>
                      <a:pt x="1687" y="688"/>
                      <a:pt x="1683" y="664"/>
                      <a:pt x="1675" y="648"/>
                    </a:cubicBezTo>
                    <a:cubicBezTo>
                      <a:pt x="1663" y="628"/>
                      <a:pt x="1647" y="572"/>
                      <a:pt x="1627" y="560"/>
                    </a:cubicBezTo>
                    <a:cubicBezTo>
                      <a:pt x="1607" y="588"/>
                      <a:pt x="1595" y="648"/>
                      <a:pt x="1579" y="676"/>
                    </a:cubicBezTo>
                    <a:cubicBezTo>
                      <a:pt x="1571" y="724"/>
                      <a:pt x="1559" y="784"/>
                      <a:pt x="1523" y="820"/>
                    </a:cubicBezTo>
                    <a:cubicBezTo>
                      <a:pt x="1515" y="844"/>
                      <a:pt x="1475" y="900"/>
                      <a:pt x="1475" y="900"/>
                    </a:cubicBezTo>
                    <a:cubicBezTo>
                      <a:pt x="1467" y="972"/>
                      <a:pt x="1444" y="972"/>
                      <a:pt x="1535" y="976"/>
                    </a:cubicBezTo>
                    <a:cubicBezTo>
                      <a:pt x="1555" y="980"/>
                      <a:pt x="1579" y="960"/>
                      <a:pt x="1559" y="996"/>
                    </a:cubicBezTo>
                    <a:cubicBezTo>
                      <a:pt x="1543" y="1024"/>
                      <a:pt x="1471" y="1024"/>
                      <a:pt x="1471" y="1024"/>
                    </a:cubicBezTo>
                    <a:cubicBezTo>
                      <a:pt x="1444" y="1040"/>
                      <a:pt x="1444" y="1092"/>
                      <a:pt x="1420" y="1112"/>
                    </a:cubicBezTo>
                    <a:cubicBezTo>
                      <a:pt x="1396" y="1160"/>
                      <a:pt x="1348" y="1196"/>
                      <a:pt x="1324" y="1244"/>
                    </a:cubicBezTo>
                    <a:cubicBezTo>
                      <a:pt x="1336" y="1276"/>
                      <a:pt x="1352" y="1288"/>
                      <a:pt x="1372" y="1312"/>
                    </a:cubicBezTo>
                    <a:cubicBezTo>
                      <a:pt x="1328" y="1332"/>
                      <a:pt x="1296" y="1336"/>
                      <a:pt x="1248" y="1344"/>
                    </a:cubicBezTo>
                    <a:cubicBezTo>
                      <a:pt x="1220" y="1396"/>
                      <a:pt x="1332" y="1376"/>
                      <a:pt x="1368" y="1380"/>
                    </a:cubicBezTo>
                    <a:cubicBezTo>
                      <a:pt x="1376" y="1380"/>
                      <a:pt x="1392" y="1416"/>
                      <a:pt x="1384" y="1416"/>
                    </a:cubicBezTo>
                    <a:cubicBezTo>
                      <a:pt x="1372" y="1416"/>
                      <a:pt x="1344" y="1416"/>
                      <a:pt x="1332" y="1416"/>
                    </a:cubicBezTo>
                    <a:cubicBezTo>
                      <a:pt x="1288" y="1424"/>
                      <a:pt x="1264" y="1436"/>
                      <a:pt x="1220" y="1444"/>
                    </a:cubicBezTo>
                    <a:cubicBezTo>
                      <a:pt x="1196" y="1468"/>
                      <a:pt x="1172" y="1484"/>
                      <a:pt x="1152" y="1508"/>
                    </a:cubicBezTo>
                    <a:cubicBezTo>
                      <a:pt x="1140" y="1520"/>
                      <a:pt x="1124" y="1556"/>
                      <a:pt x="1124" y="1556"/>
                    </a:cubicBezTo>
                    <a:cubicBezTo>
                      <a:pt x="1136" y="1584"/>
                      <a:pt x="1124" y="1624"/>
                      <a:pt x="1116" y="1656"/>
                    </a:cubicBezTo>
                    <a:cubicBezTo>
                      <a:pt x="1156" y="1664"/>
                      <a:pt x="1180" y="1684"/>
                      <a:pt x="1224" y="1688"/>
                    </a:cubicBezTo>
                    <a:cubicBezTo>
                      <a:pt x="1204" y="1712"/>
                      <a:pt x="1184" y="1728"/>
                      <a:pt x="1152" y="1732"/>
                    </a:cubicBezTo>
                    <a:cubicBezTo>
                      <a:pt x="1124" y="1748"/>
                      <a:pt x="1108" y="1752"/>
                      <a:pt x="1092" y="1784"/>
                    </a:cubicBezTo>
                    <a:cubicBezTo>
                      <a:pt x="1112" y="1872"/>
                      <a:pt x="1100" y="1772"/>
                      <a:pt x="1076" y="1828"/>
                    </a:cubicBezTo>
                    <a:cubicBezTo>
                      <a:pt x="1068" y="1848"/>
                      <a:pt x="1088" y="1896"/>
                      <a:pt x="1092" y="1916"/>
                    </a:cubicBezTo>
                    <a:cubicBezTo>
                      <a:pt x="1064" y="1920"/>
                      <a:pt x="1000" y="1912"/>
                      <a:pt x="1044" y="1968"/>
                    </a:cubicBezTo>
                    <a:cubicBezTo>
                      <a:pt x="1036" y="1988"/>
                      <a:pt x="1032" y="2004"/>
                      <a:pt x="1028" y="2016"/>
                    </a:cubicBezTo>
                    <a:cubicBezTo>
                      <a:pt x="1016" y="2020"/>
                      <a:pt x="1020" y="2032"/>
                      <a:pt x="1012" y="2040"/>
                    </a:cubicBezTo>
                    <a:cubicBezTo>
                      <a:pt x="956" y="2103"/>
                      <a:pt x="1020" y="2067"/>
                      <a:pt x="976" y="2087"/>
                    </a:cubicBezTo>
                    <a:cubicBezTo>
                      <a:pt x="952" y="2147"/>
                      <a:pt x="904" y="2195"/>
                      <a:pt x="840" y="2203"/>
                    </a:cubicBezTo>
                    <a:cubicBezTo>
                      <a:pt x="804" y="2223"/>
                      <a:pt x="812" y="2207"/>
                      <a:pt x="800" y="2235"/>
                    </a:cubicBezTo>
                    <a:cubicBezTo>
                      <a:pt x="788" y="2291"/>
                      <a:pt x="752" y="2331"/>
                      <a:pt x="720" y="2375"/>
                    </a:cubicBezTo>
                    <a:cubicBezTo>
                      <a:pt x="752" y="2463"/>
                      <a:pt x="768" y="2443"/>
                      <a:pt x="792" y="2479"/>
                    </a:cubicBezTo>
                    <a:cubicBezTo>
                      <a:pt x="832" y="2471"/>
                      <a:pt x="876" y="2427"/>
                      <a:pt x="912" y="2407"/>
                    </a:cubicBezTo>
                    <a:cubicBezTo>
                      <a:pt x="908" y="2463"/>
                      <a:pt x="888" y="2527"/>
                      <a:pt x="828" y="2539"/>
                    </a:cubicBezTo>
                    <a:cubicBezTo>
                      <a:pt x="800" y="2559"/>
                      <a:pt x="800" y="2559"/>
                      <a:pt x="764" y="2555"/>
                    </a:cubicBezTo>
                    <a:cubicBezTo>
                      <a:pt x="716" y="2543"/>
                      <a:pt x="684" y="2539"/>
                      <a:pt x="652" y="2495"/>
                    </a:cubicBezTo>
                    <a:cubicBezTo>
                      <a:pt x="636" y="2507"/>
                      <a:pt x="608" y="2539"/>
                      <a:pt x="608" y="2539"/>
                    </a:cubicBezTo>
                    <a:cubicBezTo>
                      <a:pt x="600" y="2571"/>
                      <a:pt x="588" y="2591"/>
                      <a:pt x="564" y="2611"/>
                    </a:cubicBezTo>
                    <a:cubicBezTo>
                      <a:pt x="556" y="2643"/>
                      <a:pt x="544" y="2655"/>
                      <a:pt x="532" y="2683"/>
                    </a:cubicBezTo>
                    <a:cubicBezTo>
                      <a:pt x="604" y="2695"/>
                      <a:pt x="516" y="2675"/>
                      <a:pt x="496" y="2671"/>
                    </a:cubicBezTo>
                    <a:cubicBezTo>
                      <a:pt x="456" y="2651"/>
                      <a:pt x="432" y="2659"/>
                      <a:pt x="380" y="2663"/>
                    </a:cubicBezTo>
                    <a:cubicBezTo>
                      <a:pt x="356" y="2675"/>
                      <a:pt x="336" y="2691"/>
                      <a:pt x="312" y="2703"/>
                    </a:cubicBezTo>
                    <a:cubicBezTo>
                      <a:pt x="324" y="2771"/>
                      <a:pt x="320" y="2743"/>
                      <a:pt x="332" y="2791"/>
                    </a:cubicBezTo>
                    <a:cubicBezTo>
                      <a:pt x="328" y="2823"/>
                      <a:pt x="316" y="2843"/>
                      <a:pt x="308" y="2875"/>
                    </a:cubicBezTo>
                    <a:cubicBezTo>
                      <a:pt x="308" y="2851"/>
                      <a:pt x="312" y="2827"/>
                      <a:pt x="304" y="2803"/>
                    </a:cubicBezTo>
                    <a:cubicBezTo>
                      <a:pt x="300" y="2795"/>
                      <a:pt x="208" y="2847"/>
                      <a:pt x="188" y="2855"/>
                    </a:cubicBezTo>
                    <a:cubicBezTo>
                      <a:pt x="168" y="2887"/>
                      <a:pt x="156" y="2911"/>
                      <a:pt x="120" y="2927"/>
                    </a:cubicBezTo>
                    <a:cubicBezTo>
                      <a:pt x="136" y="2983"/>
                      <a:pt x="156" y="2979"/>
                      <a:pt x="216" y="2983"/>
                    </a:cubicBezTo>
                    <a:cubicBezTo>
                      <a:pt x="240" y="2999"/>
                      <a:pt x="268" y="2999"/>
                      <a:pt x="296" y="3011"/>
                    </a:cubicBezTo>
                    <a:cubicBezTo>
                      <a:pt x="252" y="3035"/>
                      <a:pt x="184" y="2995"/>
                      <a:pt x="140" y="2979"/>
                    </a:cubicBezTo>
                    <a:cubicBezTo>
                      <a:pt x="76" y="2983"/>
                      <a:pt x="64" y="2983"/>
                      <a:pt x="28" y="3031"/>
                    </a:cubicBezTo>
                    <a:cubicBezTo>
                      <a:pt x="4" y="3167"/>
                      <a:pt x="108" y="3159"/>
                      <a:pt x="216" y="3163"/>
                    </a:cubicBezTo>
                    <a:cubicBezTo>
                      <a:pt x="240" y="3167"/>
                      <a:pt x="452" y="3143"/>
                      <a:pt x="424" y="3183"/>
                    </a:cubicBezTo>
                    <a:cubicBezTo>
                      <a:pt x="352" y="3179"/>
                      <a:pt x="276" y="3183"/>
                      <a:pt x="216" y="3175"/>
                    </a:cubicBezTo>
                    <a:cubicBezTo>
                      <a:pt x="0" y="3179"/>
                      <a:pt x="16" y="3127"/>
                      <a:pt x="8" y="3295"/>
                    </a:cubicBezTo>
                    <a:cubicBezTo>
                      <a:pt x="12" y="3375"/>
                      <a:pt x="8" y="3419"/>
                      <a:pt x="88" y="3451"/>
                    </a:cubicBezTo>
                    <a:cubicBezTo>
                      <a:pt x="144" y="3443"/>
                      <a:pt x="180" y="3431"/>
                      <a:pt x="232" y="3423"/>
                    </a:cubicBezTo>
                    <a:cubicBezTo>
                      <a:pt x="244" y="3419"/>
                      <a:pt x="256" y="3415"/>
                      <a:pt x="268" y="3411"/>
                    </a:cubicBezTo>
                    <a:cubicBezTo>
                      <a:pt x="276" y="3407"/>
                      <a:pt x="284" y="3411"/>
                      <a:pt x="292" y="3407"/>
                    </a:cubicBezTo>
                    <a:cubicBezTo>
                      <a:pt x="296" y="3407"/>
                      <a:pt x="312" y="3395"/>
                      <a:pt x="308" y="3399"/>
                    </a:cubicBezTo>
                    <a:cubicBezTo>
                      <a:pt x="268" y="3439"/>
                      <a:pt x="216" y="3459"/>
                      <a:pt x="160" y="3471"/>
                    </a:cubicBezTo>
                    <a:cubicBezTo>
                      <a:pt x="128" y="3483"/>
                      <a:pt x="104" y="3495"/>
                      <a:pt x="76" y="3511"/>
                    </a:cubicBezTo>
                    <a:cubicBezTo>
                      <a:pt x="64" y="3531"/>
                      <a:pt x="56" y="3539"/>
                      <a:pt x="32" y="3547"/>
                    </a:cubicBezTo>
                    <a:cubicBezTo>
                      <a:pt x="92" y="3575"/>
                      <a:pt x="88" y="3543"/>
                      <a:pt x="112" y="3607"/>
                    </a:cubicBezTo>
                    <a:cubicBezTo>
                      <a:pt x="96" y="3655"/>
                      <a:pt x="84" y="3683"/>
                      <a:pt x="44" y="3723"/>
                    </a:cubicBezTo>
                    <a:cubicBezTo>
                      <a:pt x="36" y="3731"/>
                      <a:pt x="60" y="3715"/>
                      <a:pt x="68" y="3711"/>
                    </a:cubicBezTo>
                    <a:cubicBezTo>
                      <a:pt x="84" y="3699"/>
                      <a:pt x="116" y="3679"/>
                      <a:pt x="116" y="3679"/>
                    </a:cubicBezTo>
                    <a:cubicBezTo>
                      <a:pt x="140" y="3691"/>
                      <a:pt x="132" y="3703"/>
                      <a:pt x="120" y="3723"/>
                    </a:cubicBezTo>
                    <a:cubicBezTo>
                      <a:pt x="132" y="3763"/>
                      <a:pt x="148" y="3787"/>
                      <a:pt x="192" y="3795"/>
                    </a:cubicBezTo>
                    <a:cubicBezTo>
                      <a:pt x="168" y="3811"/>
                      <a:pt x="168" y="3799"/>
                      <a:pt x="140" y="3795"/>
                    </a:cubicBezTo>
                    <a:cubicBezTo>
                      <a:pt x="112" y="3799"/>
                      <a:pt x="104" y="3803"/>
                      <a:pt x="88" y="3823"/>
                    </a:cubicBezTo>
                    <a:cubicBezTo>
                      <a:pt x="96" y="3915"/>
                      <a:pt x="120" y="3959"/>
                      <a:pt x="188" y="4031"/>
                    </a:cubicBezTo>
                    <a:cubicBezTo>
                      <a:pt x="228" y="4055"/>
                      <a:pt x="268" y="4083"/>
                      <a:pt x="312" y="4103"/>
                    </a:cubicBezTo>
                    <a:cubicBezTo>
                      <a:pt x="332" y="4111"/>
                      <a:pt x="372" y="4123"/>
                      <a:pt x="372" y="4123"/>
                    </a:cubicBezTo>
                    <a:cubicBezTo>
                      <a:pt x="408" y="4107"/>
                      <a:pt x="492" y="4035"/>
                      <a:pt x="532" y="4007"/>
                    </a:cubicBezTo>
                    <a:cubicBezTo>
                      <a:pt x="584" y="3967"/>
                      <a:pt x="620" y="3899"/>
                      <a:pt x="660" y="3863"/>
                    </a:cubicBezTo>
                    <a:cubicBezTo>
                      <a:pt x="680" y="3823"/>
                      <a:pt x="740" y="3811"/>
                      <a:pt x="776" y="3783"/>
                    </a:cubicBezTo>
                    <a:cubicBezTo>
                      <a:pt x="800" y="3727"/>
                      <a:pt x="824" y="3667"/>
                      <a:pt x="836" y="3607"/>
                    </a:cubicBezTo>
                    <a:cubicBezTo>
                      <a:pt x="856" y="3599"/>
                      <a:pt x="888" y="3707"/>
                      <a:pt x="896" y="3739"/>
                    </a:cubicBezTo>
                    <a:cubicBezTo>
                      <a:pt x="900" y="3799"/>
                      <a:pt x="932" y="3767"/>
                      <a:pt x="908" y="3795"/>
                    </a:cubicBez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grpSp>
        <p:grpSp>
          <p:nvGrpSpPr>
            <p:cNvPr id="10" name="Group 82"/>
            <p:cNvGrpSpPr>
              <a:grpSpLocks/>
            </p:cNvGrpSpPr>
            <p:nvPr>
              <p:custDataLst>
                <p:tags r:id="rId6"/>
              </p:custDataLst>
            </p:nvPr>
          </p:nvGrpSpPr>
          <p:grpSpPr bwMode="auto">
            <a:xfrm>
              <a:off x="3174449" y="1440806"/>
              <a:ext cx="952144" cy="1736960"/>
              <a:chOff x="3842" y="-120"/>
              <a:chExt cx="1720" cy="3135"/>
            </a:xfrm>
            <a:solidFill>
              <a:schemeClr val="bg1">
                <a:lumMod val="75000"/>
              </a:schemeClr>
            </a:solidFill>
          </p:grpSpPr>
          <p:sp>
            <p:nvSpPr>
              <p:cNvPr id="44" name="Freeform 83"/>
              <p:cNvSpPr>
                <a:spLocks noChangeAspect="1"/>
              </p:cNvSpPr>
              <p:nvPr/>
            </p:nvSpPr>
            <p:spPr bwMode="auto">
              <a:xfrm>
                <a:off x="4079" y="2895"/>
                <a:ext cx="152" cy="120"/>
              </a:xfrm>
              <a:custGeom>
                <a:avLst/>
                <a:gdLst/>
                <a:ahLst/>
                <a:cxnLst>
                  <a:cxn ang="0">
                    <a:pos x="21" y="4"/>
                  </a:cxn>
                  <a:cxn ang="0">
                    <a:pos x="0" y="8"/>
                  </a:cxn>
                  <a:cxn ang="0">
                    <a:pos x="19" y="30"/>
                  </a:cxn>
                  <a:cxn ang="0">
                    <a:pos x="38" y="15"/>
                  </a:cxn>
                  <a:cxn ang="0">
                    <a:pos x="17" y="5"/>
                  </a:cxn>
                  <a:cxn ang="0">
                    <a:pos x="8" y="2"/>
                  </a:cxn>
                  <a:cxn ang="0">
                    <a:pos x="21" y="4"/>
                  </a:cxn>
                </a:cxnLst>
                <a:rect l="0" t="0" r="r" b="b"/>
                <a:pathLst>
                  <a:path w="38" h="30">
                    <a:moveTo>
                      <a:pt x="21" y="4"/>
                    </a:moveTo>
                    <a:cubicBezTo>
                      <a:pt x="13" y="1"/>
                      <a:pt x="4" y="0"/>
                      <a:pt x="0" y="8"/>
                    </a:cubicBezTo>
                    <a:cubicBezTo>
                      <a:pt x="1" y="26"/>
                      <a:pt x="4" y="26"/>
                      <a:pt x="19" y="30"/>
                    </a:cubicBezTo>
                    <a:cubicBezTo>
                      <a:pt x="29" y="28"/>
                      <a:pt x="31" y="22"/>
                      <a:pt x="38" y="15"/>
                    </a:cubicBezTo>
                    <a:cubicBezTo>
                      <a:pt x="36" y="5"/>
                      <a:pt x="27" y="6"/>
                      <a:pt x="17" y="5"/>
                    </a:cubicBezTo>
                    <a:cubicBezTo>
                      <a:pt x="9" y="3"/>
                      <a:pt x="11" y="5"/>
                      <a:pt x="8" y="2"/>
                    </a:cubicBezTo>
                    <a:lnTo>
                      <a:pt x="21" y="4"/>
                    </a:ln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sp>
            <p:nvSpPr>
              <p:cNvPr id="45" name="Freeform 84"/>
              <p:cNvSpPr>
                <a:spLocks noChangeAspect="1"/>
              </p:cNvSpPr>
              <p:nvPr/>
            </p:nvSpPr>
            <p:spPr bwMode="auto">
              <a:xfrm>
                <a:off x="3842" y="-120"/>
                <a:ext cx="1720" cy="3083"/>
              </a:xfrm>
              <a:custGeom>
                <a:avLst/>
                <a:gdLst/>
                <a:ahLst/>
                <a:cxnLst>
                  <a:cxn ang="0">
                    <a:pos x="1628" y="2255"/>
                  </a:cxn>
                  <a:cxn ang="0">
                    <a:pos x="1720" y="1955"/>
                  </a:cxn>
                  <a:cxn ang="0">
                    <a:pos x="1456" y="1775"/>
                  </a:cxn>
                  <a:cxn ang="0">
                    <a:pos x="1448" y="1683"/>
                  </a:cxn>
                  <a:cxn ang="0">
                    <a:pos x="1432" y="1583"/>
                  </a:cxn>
                  <a:cxn ang="0">
                    <a:pos x="1352" y="1512"/>
                  </a:cxn>
                  <a:cxn ang="0">
                    <a:pos x="1264" y="1320"/>
                  </a:cxn>
                  <a:cxn ang="0">
                    <a:pos x="1276" y="1188"/>
                  </a:cxn>
                  <a:cxn ang="0">
                    <a:pos x="1132" y="992"/>
                  </a:cxn>
                  <a:cxn ang="0">
                    <a:pos x="1120" y="688"/>
                  </a:cxn>
                  <a:cxn ang="0">
                    <a:pos x="1072" y="600"/>
                  </a:cxn>
                  <a:cxn ang="0">
                    <a:pos x="908" y="512"/>
                  </a:cxn>
                  <a:cxn ang="0">
                    <a:pos x="880" y="312"/>
                  </a:cxn>
                  <a:cxn ang="0">
                    <a:pos x="968" y="132"/>
                  </a:cxn>
                  <a:cxn ang="0">
                    <a:pos x="888" y="168"/>
                  </a:cxn>
                  <a:cxn ang="0">
                    <a:pos x="813" y="72"/>
                  </a:cxn>
                  <a:cxn ang="0">
                    <a:pos x="693" y="0"/>
                  </a:cxn>
                  <a:cxn ang="0">
                    <a:pos x="573" y="76"/>
                  </a:cxn>
                  <a:cxn ang="0">
                    <a:pos x="545" y="244"/>
                  </a:cxn>
                  <a:cxn ang="0">
                    <a:pos x="533" y="416"/>
                  </a:cxn>
                  <a:cxn ang="0">
                    <a:pos x="409" y="484"/>
                  </a:cxn>
                  <a:cxn ang="0">
                    <a:pos x="153" y="412"/>
                  </a:cxn>
                  <a:cxn ang="0">
                    <a:pos x="9" y="436"/>
                  </a:cxn>
                  <a:cxn ang="0">
                    <a:pos x="265" y="620"/>
                  </a:cxn>
                  <a:cxn ang="0">
                    <a:pos x="390" y="756"/>
                  </a:cxn>
                  <a:cxn ang="0">
                    <a:pos x="477" y="1016"/>
                  </a:cxn>
                  <a:cxn ang="0">
                    <a:pos x="495" y="1224"/>
                  </a:cxn>
                  <a:cxn ang="0">
                    <a:pos x="580" y="1365"/>
                  </a:cxn>
                  <a:cxn ang="0">
                    <a:pos x="681" y="1396"/>
                  </a:cxn>
                  <a:cxn ang="0">
                    <a:pos x="741" y="1432"/>
                  </a:cxn>
                  <a:cxn ang="0">
                    <a:pos x="545" y="1959"/>
                  </a:cxn>
                  <a:cxn ang="0">
                    <a:pos x="489" y="2051"/>
                  </a:cxn>
                  <a:cxn ang="0">
                    <a:pos x="369" y="2239"/>
                  </a:cxn>
                  <a:cxn ang="0">
                    <a:pos x="457" y="2559"/>
                  </a:cxn>
                  <a:cxn ang="0">
                    <a:pos x="457" y="2987"/>
                  </a:cxn>
                  <a:cxn ang="0">
                    <a:pos x="485" y="2999"/>
                  </a:cxn>
                  <a:cxn ang="0">
                    <a:pos x="657" y="3055"/>
                  </a:cxn>
                  <a:cxn ang="0">
                    <a:pos x="729" y="3083"/>
                  </a:cxn>
                  <a:cxn ang="0">
                    <a:pos x="956" y="2991"/>
                  </a:cxn>
                  <a:cxn ang="0">
                    <a:pos x="1024" y="2955"/>
                  </a:cxn>
                  <a:cxn ang="0">
                    <a:pos x="1192" y="2859"/>
                  </a:cxn>
                  <a:cxn ang="0">
                    <a:pos x="1372" y="2783"/>
                  </a:cxn>
                  <a:cxn ang="0">
                    <a:pos x="1396" y="2723"/>
                  </a:cxn>
                  <a:cxn ang="0">
                    <a:pos x="1576" y="2351"/>
                  </a:cxn>
                </a:cxnLst>
                <a:rect l="0" t="0" r="r" b="b"/>
                <a:pathLst>
                  <a:path w="1720" h="3083">
                    <a:moveTo>
                      <a:pt x="1576" y="2351"/>
                    </a:moveTo>
                    <a:cubicBezTo>
                      <a:pt x="1584" y="2323"/>
                      <a:pt x="1604" y="2279"/>
                      <a:pt x="1628" y="2255"/>
                    </a:cubicBezTo>
                    <a:cubicBezTo>
                      <a:pt x="1636" y="2223"/>
                      <a:pt x="1636" y="2191"/>
                      <a:pt x="1648" y="2159"/>
                    </a:cubicBezTo>
                    <a:cubicBezTo>
                      <a:pt x="1656" y="2087"/>
                      <a:pt x="1688" y="2023"/>
                      <a:pt x="1720" y="1955"/>
                    </a:cubicBezTo>
                    <a:cubicBezTo>
                      <a:pt x="1700" y="1907"/>
                      <a:pt x="1640" y="1879"/>
                      <a:pt x="1592" y="1839"/>
                    </a:cubicBezTo>
                    <a:cubicBezTo>
                      <a:pt x="1548" y="1811"/>
                      <a:pt x="1480" y="1791"/>
                      <a:pt x="1456" y="1775"/>
                    </a:cubicBezTo>
                    <a:cubicBezTo>
                      <a:pt x="1452" y="1767"/>
                      <a:pt x="1440" y="1751"/>
                      <a:pt x="1440" y="1751"/>
                    </a:cubicBezTo>
                    <a:cubicBezTo>
                      <a:pt x="1440" y="1727"/>
                      <a:pt x="1440" y="1703"/>
                      <a:pt x="1448" y="1683"/>
                    </a:cubicBezTo>
                    <a:cubicBezTo>
                      <a:pt x="1452" y="1671"/>
                      <a:pt x="1480" y="1631"/>
                      <a:pt x="1480" y="1631"/>
                    </a:cubicBezTo>
                    <a:cubicBezTo>
                      <a:pt x="1476" y="1595"/>
                      <a:pt x="1460" y="1603"/>
                      <a:pt x="1432" y="1583"/>
                    </a:cubicBezTo>
                    <a:cubicBezTo>
                      <a:pt x="1420" y="1575"/>
                      <a:pt x="1396" y="1559"/>
                      <a:pt x="1396" y="1559"/>
                    </a:cubicBezTo>
                    <a:cubicBezTo>
                      <a:pt x="1384" y="1543"/>
                      <a:pt x="1368" y="1524"/>
                      <a:pt x="1352" y="1512"/>
                    </a:cubicBezTo>
                    <a:cubicBezTo>
                      <a:pt x="1332" y="1484"/>
                      <a:pt x="1340" y="1496"/>
                      <a:pt x="1324" y="1472"/>
                    </a:cubicBezTo>
                    <a:cubicBezTo>
                      <a:pt x="1312" y="1420"/>
                      <a:pt x="1280" y="1372"/>
                      <a:pt x="1264" y="1320"/>
                    </a:cubicBezTo>
                    <a:cubicBezTo>
                      <a:pt x="1264" y="1288"/>
                      <a:pt x="1264" y="1260"/>
                      <a:pt x="1268" y="1228"/>
                    </a:cubicBezTo>
                    <a:cubicBezTo>
                      <a:pt x="1268" y="1216"/>
                      <a:pt x="1276" y="1188"/>
                      <a:pt x="1276" y="1188"/>
                    </a:cubicBezTo>
                    <a:cubicBezTo>
                      <a:pt x="1272" y="1148"/>
                      <a:pt x="1248" y="1080"/>
                      <a:pt x="1204" y="1064"/>
                    </a:cubicBezTo>
                    <a:cubicBezTo>
                      <a:pt x="1188" y="1040"/>
                      <a:pt x="1156" y="1008"/>
                      <a:pt x="1132" y="992"/>
                    </a:cubicBezTo>
                    <a:cubicBezTo>
                      <a:pt x="1120" y="972"/>
                      <a:pt x="1104" y="932"/>
                      <a:pt x="1080" y="924"/>
                    </a:cubicBezTo>
                    <a:cubicBezTo>
                      <a:pt x="1056" y="840"/>
                      <a:pt x="1052" y="756"/>
                      <a:pt x="1120" y="688"/>
                    </a:cubicBezTo>
                    <a:cubicBezTo>
                      <a:pt x="1124" y="672"/>
                      <a:pt x="1128" y="644"/>
                      <a:pt x="1120" y="632"/>
                    </a:cubicBezTo>
                    <a:cubicBezTo>
                      <a:pt x="1108" y="616"/>
                      <a:pt x="1088" y="612"/>
                      <a:pt x="1072" y="600"/>
                    </a:cubicBezTo>
                    <a:cubicBezTo>
                      <a:pt x="1044" y="576"/>
                      <a:pt x="1020" y="556"/>
                      <a:pt x="984" y="544"/>
                    </a:cubicBezTo>
                    <a:cubicBezTo>
                      <a:pt x="968" y="528"/>
                      <a:pt x="932" y="520"/>
                      <a:pt x="908" y="512"/>
                    </a:cubicBezTo>
                    <a:cubicBezTo>
                      <a:pt x="888" y="492"/>
                      <a:pt x="876" y="448"/>
                      <a:pt x="872" y="416"/>
                    </a:cubicBezTo>
                    <a:cubicBezTo>
                      <a:pt x="864" y="380"/>
                      <a:pt x="861" y="344"/>
                      <a:pt x="880" y="312"/>
                    </a:cubicBezTo>
                    <a:cubicBezTo>
                      <a:pt x="888" y="288"/>
                      <a:pt x="888" y="260"/>
                      <a:pt x="908" y="240"/>
                    </a:cubicBezTo>
                    <a:cubicBezTo>
                      <a:pt x="924" y="212"/>
                      <a:pt x="972" y="128"/>
                      <a:pt x="968" y="132"/>
                    </a:cubicBezTo>
                    <a:cubicBezTo>
                      <a:pt x="956" y="148"/>
                      <a:pt x="892" y="256"/>
                      <a:pt x="880" y="264"/>
                    </a:cubicBezTo>
                    <a:cubicBezTo>
                      <a:pt x="872" y="228"/>
                      <a:pt x="876" y="204"/>
                      <a:pt x="888" y="168"/>
                    </a:cubicBezTo>
                    <a:cubicBezTo>
                      <a:pt x="884" y="132"/>
                      <a:pt x="892" y="108"/>
                      <a:pt x="864" y="88"/>
                    </a:cubicBezTo>
                    <a:cubicBezTo>
                      <a:pt x="849" y="76"/>
                      <a:pt x="813" y="72"/>
                      <a:pt x="813" y="72"/>
                    </a:cubicBezTo>
                    <a:cubicBezTo>
                      <a:pt x="789" y="48"/>
                      <a:pt x="757" y="36"/>
                      <a:pt x="729" y="16"/>
                    </a:cubicBezTo>
                    <a:cubicBezTo>
                      <a:pt x="717" y="8"/>
                      <a:pt x="693" y="0"/>
                      <a:pt x="693" y="0"/>
                    </a:cubicBezTo>
                    <a:cubicBezTo>
                      <a:pt x="669" y="4"/>
                      <a:pt x="657" y="0"/>
                      <a:pt x="645" y="24"/>
                    </a:cubicBezTo>
                    <a:cubicBezTo>
                      <a:pt x="637" y="72"/>
                      <a:pt x="621" y="72"/>
                      <a:pt x="573" y="76"/>
                    </a:cubicBezTo>
                    <a:cubicBezTo>
                      <a:pt x="557" y="92"/>
                      <a:pt x="549" y="116"/>
                      <a:pt x="537" y="136"/>
                    </a:cubicBezTo>
                    <a:cubicBezTo>
                      <a:pt x="529" y="172"/>
                      <a:pt x="529" y="208"/>
                      <a:pt x="545" y="244"/>
                    </a:cubicBezTo>
                    <a:cubicBezTo>
                      <a:pt x="548" y="283"/>
                      <a:pt x="560" y="337"/>
                      <a:pt x="558" y="366"/>
                    </a:cubicBezTo>
                    <a:cubicBezTo>
                      <a:pt x="544" y="390"/>
                      <a:pt x="540" y="403"/>
                      <a:pt x="533" y="416"/>
                    </a:cubicBezTo>
                    <a:cubicBezTo>
                      <a:pt x="526" y="440"/>
                      <a:pt x="537" y="408"/>
                      <a:pt x="513" y="444"/>
                    </a:cubicBezTo>
                    <a:cubicBezTo>
                      <a:pt x="497" y="456"/>
                      <a:pt x="441" y="472"/>
                      <a:pt x="409" y="484"/>
                    </a:cubicBezTo>
                    <a:cubicBezTo>
                      <a:pt x="357" y="492"/>
                      <a:pt x="245" y="504"/>
                      <a:pt x="197" y="492"/>
                    </a:cubicBezTo>
                    <a:cubicBezTo>
                      <a:pt x="181" y="460"/>
                      <a:pt x="181" y="432"/>
                      <a:pt x="153" y="412"/>
                    </a:cubicBezTo>
                    <a:cubicBezTo>
                      <a:pt x="141" y="392"/>
                      <a:pt x="105" y="380"/>
                      <a:pt x="81" y="372"/>
                    </a:cubicBezTo>
                    <a:cubicBezTo>
                      <a:pt x="41" y="384"/>
                      <a:pt x="41" y="392"/>
                      <a:pt x="9" y="436"/>
                    </a:cubicBezTo>
                    <a:cubicBezTo>
                      <a:pt x="0" y="456"/>
                      <a:pt x="27" y="455"/>
                      <a:pt x="66" y="482"/>
                    </a:cubicBezTo>
                    <a:cubicBezTo>
                      <a:pt x="108" y="513"/>
                      <a:pt x="171" y="567"/>
                      <a:pt x="265" y="620"/>
                    </a:cubicBezTo>
                    <a:cubicBezTo>
                      <a:pt x="309" y="651"/>
                      <a:pt x="309" y="642"/>
                      <a:pt x="330" y="668"/>
                    </a:cubicBezTo>
                    <a:cubicBezTo>
                      <a:pt x="369" y="701"/>
                      <a:pt x="393" y="722"/>
                      <a:pt x="390" y="756"/>
                    </a:cubicBezTo>
                    <a:cubicBezTo>
                      <a:pt x="363" y="848"/>
                      <a:pt x="438" y="911"/>
                      <a:pt x="450" y="947"/>
                    </a:cubicBezTo>
                    <a:cubicBezTo>
                      <a:pt x="465" y="990"/>
                      <a:pt x="469" y="995"/>
                      <a:pt x="477" y="1016"/>
                    </a:cubicBezTo>
                    <a:cubicBezTo>
                      <a:pt x="485" y="1032"/>
                      <a:pt x="492" y="1059"/>
                      <a:pt x="495" y="1077"/>
                    </a:cubicBezTo>
                    <a:cubicBezTo>
                      <a:pt x="491" y="1109"/>
                      <a:pt x="486" y="1193"/>
                      <a:pt x="495" y="1224"/>
                    </a:cubicBezTo>
                    <a:cubicBezTo>
                      <a:pt x="522" y="1266"/>
                      <a:pt x="535" y="1281"/>
                      <a:pt x="537" y="1301"/>
                    </a:cubicBezTo>
                    <a:cubicBezTo>
                      <a:pt x="557" y="1341"/>
                      <a:pt x="555" y="1352"/>
                      <a:pt x="580" y="1365"/>
                    </a:cubicBezTo>
                    <a:cubicBezTo>
                      <a:pt x="580" y="1369"/>
                      <a:pt x="617" y="1380"/>
                      <a:pt x="633" y="1380"/>
                    </a:cubicBezTo>
                    <a:cubicBezTo>
                      <a:pt x="649" y="1384"/>
                      <a:pt x="665" y="1392"/>
                      <a:pt x="681" y="1396"/>
                    </a:cubicBezTo>
                    <a:cubicBezTo>
                      <a:pt x="689" y="1400"/>
                      <a:pt x="705" y="1404"/>
                      <a:pt x="705" y="1404"/>
                    </a:cubicBezTo>
                    <a:cubicBezTo>
                      <a:pt x="717" y="1416"/>
                      <a:pt x="741" y="1432"/>
                      <a:pt x="741" y="1432"/>
                    </a:cubicBezTo>
                    <a:cubicBezTo>
                      <a:pt x="753" y="1488"/>
                      <a:pt x="737" y="1536"/>
                      <a:pt x="705" y="1583"/>
                    </a:cubicBezTo>
                    <a:cubicBezTo>
                      <a:pt x="673" y="1671"/>
                      <a:pt x="617" y="1879"/>
                      <a:pt x="545" y="1959"/>
                    </a:cubicBezTo>
                    <a:cubicBezTo>
                      <a:pt x="533" y="1975"/>
                      <a:pt x="525" y="1995"/>
                      <a:pt x="509" y="2003"/>
                    </a:cubicBezTo>
                    <a:cubicBezTo>
                      <a:pt x="501" y="2023"/>
                      <a:pt x="497" y="2035"/>
                      <a:pt x="489" y="2051"/>
                    </a:cubicBezTo>
                    <a:cubicBezTo>
                      <a:pt x="485" y="2059"/>
                      <a:pt x="481" y="2075"/>
                      <a:pt x="481" y="2075"/>
                    </a:cubicBezTo>
                    <a:cubicBezTo>
                      <a:pt x="461" y="2107"/>
                      <a:pt x="381" y="2167"/>
                      <a:pt x="369" y="2239"/>
                    </a:cubicBezTo>
                    <a:cubicBezTo>
                      <a:pt x="349" y="2315"/>
                      <a:pt x="365" y="2435"/>
                      <a:pt x="413" y="2507"/>
                    </a:cubicBezTo>
                    <a:cubicBezTo>
                      <a:pt x="421" y="2535"/>
                      <a:pt x="445" y="2535"/>
                      <a:pt x="457" y="2559"/>
                    </a:cubicBezTo>
                    <a:cubicBezTo>
                      <a:pt x="473" y="2591"/>
                      <a:pt x="465" y="2655"/>
                      <a:pt x="473" y="2687"/>
                    </a:cubicBezTo>
                    <a:cubicBezTo>
                      <a:pt x="477" y="2787"/>
                      <a:pt x="473" y="2887"/>
                      <a:pt x="457" y="2987"/>
                    </a:cubicBezTo>
                    <a:cubicBezTo>
                      <a:pt x="457" y="2995"/>
                      <a:pt x="453" y="3003"/>
                      <a:pt x="461" y="3007"/>
                    </a:cubicBezTo>
                    <a:cubicBezTo>
                      <a:pt x="469" y="3011"/>
                      <a:pt x="485" y="2999"/>
                      <a:pt x="485" y="2999"/>
                    </a:cubicBezTo>
                    <a:cubicBezTo>
                      <a:pt x="525" y="3007"/>
                      <a:pt x="561" y="3019"/>
                      <a:pt x="597" y="3031"/>
                    </a:cubicBezTo>
                    <a:cubicBezTo>
                      <a:pt x="621" y="3039"/>
                      <a:pt x="637" y="3047"/>
                      <a:pt x="657" y="3055"/>
                    </a:cubicBezTo>
                    <a:cubicBezTo>
                      <a:pt x="661" y="3055"/>
                      <a:pt x="669" y="3059"/>
                      <a:pt x="669" y="3059"/>
                    </a:cubicBezTo>
                    <a:cubicBezTo>
                      <a:pt x="685" y="3075"/>
                      <a:pt x="705" y="3079"/>
                      <a:pt x="729" y="3083"/>
                    </a:cubicBezTo>
                    <a:cubicBezTo>
                      <a:pt x="769" y="3075"/>
                      <a:pt x="801" y="3055"/>
                      <a:pt x="841" y="3047"/>
                    </a:cubicBezTo>
                    <a:cubicBezTo>
                      <a:pt x="880" y="3027"/>
                      <a:pt x="912" y="2999"/>
                      <a:pt x="956" y="2991"/>
                    </a:cubicBezTo>
                    <a:cubicBezTo>
                      <a:pt x="968" y="2983"/>
                      <a:pt x="980" y="2967"/>
                      <a:pt x="992" y="2963"/>
                    </a:cubicBezTo>
                    <a:cubicBezTo>
                      <a:pt x="1004" y="2959"/>
                      <a:pt x="1024" y="2955"/>
                      <a:pt x="1024" y="2955"/>
                    </a:cubicBezTo>
                    <a:cubicBezTo>
                      <a:pt x="1040" y="2931"/>
                      <a:pt x="1092" y="2915"/>
                      <a:pt x="1120" y="2907"/>
                    </a:cubicBezTo>
                    <a:cubicBezTo>
                      <a:pt x="1132" y="2887"/>
                      <a:pt x="1168" y="2867"/>
                      <a:pt x="1192" y="2859"/>
                    </a:cubicBezTo>
                    <a:cubicBezTo>
                      <a:pt x="1212" y="2827"/>
                      <a:pt x="1276" y="2839"/>
                      <a:pt x="1312" y="2831"/>
                    </a:cubicBezTo>
                    <a:cubicBezTo>
                      <a:pt x="1336" y="2811"/>
                      <a:pt x="1348" y="2791"/>
                      <a:pt x="1372" y="2783"/>
                    </a:cubicBezTo>
                    <a:cubicBezTo>
                      <a:pt x="1380" y="2779"/>
                      <a:pt x="1396" y="2767"/>
                      <a:pt x="1396" y="2767"/>
                    </a:cubicBezTo>
                    <a:cubicBezTo>
                      <a:pt x="1389" y="2753"/>
                      <a:pt x="1388" y="2743"/>
                      <a:pt x="1396" y="2723"/>
                    </a:cubicBezTo>
                    <a:cubicBezTo>
                      <a:pt x="1412" y="2675"/>
                      <a:pt x="1465" y="2573"/>
                      <a:pt x="1500" y="2534"/>
                    </a:cubicBezTo>
                    <a:cubicBezTo>
                      <a:pt x="1530" y="2472"/>
                      <a:pt x="1555" y="2397"/>
                      <a:pt x="1576" y="2351"/>
                    </a:cubicBez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grpSp>
        <p:grpSp>
          <p:nvGrpSpPr>
            <p:cNvPr id="11" name="Group 102"/>
            <p:cNvGrpSpPr>
              <a:grpSpLocks/>
            </p:cNvGrpSpPr>
            <p:nvPr>
              <p:custDataLst>
                <p:tags r:id="rId7"/>
              </p:custDataLst>
            </p:nvPr>
          </p:nvGrpSpPr>
          <p:grpSpPr bwMode="auto">
            <a:xfrm>
              <a:off x="968490" y="4631920"/>
              <a:ext cx="1524839" cy="1597914"/>
              <a:chOff x="-144" y="5643"/>
              <a:chExt cx="2751" cy="2887"/>
            </a:xfrm>
            <a:solidFill>
              <a:schemeClr val="bg1">
                <a:lumMod val="75000"/>
              </a:schemeClr>
            </a:solidFill>
          </p:grpSpPr>
          <p:sp>
            <p:nvSpPr>
              <p:cNvPr id="40" name="Freeform 103"/>
              <p:cNvSpPr>
                <a:spLocks noChangeAspect="1"/>
              </p:cNvSpPr>
              <p:nvPr/>
            </p:nvSpPr>
            <p:spPr bwMode="auto">
              <a:xfrm>
                <a:off x="372" y="6943"/>
                <a:ext cx="68" cy="203"/>
              </a:xfrm>
              <a:custGeom>
                <a:avLst/>
                <a:gdLst/>
                <a:ahLst/>
                <a:cxnLst>
                  <a:cxn ang="0">
                    <a:pos x="5" y="11"/>
                  </a:cxn>
                  <a:cxn ang="0">
                    <a:pos x="11" y="20"/>
                  </a:cxn>
                  <a:cxn ang="0">
                    <a:pos x="9" y="40"/>
                  </a:cxn>
                  <a:cxn ang="0">
                    <a:pos x="5" y="11"/>
                  </a:cxn>
                </a:cxnLst>
                <a:rect l="0" t="0" r="r" b="b"/>
                <a:pathLst>
                  <a:path w="17" h="51">
                    <a:moveTo>
                      <a:pt x="5" y="11"/>
                    </a:moveTo>
                    <a:cubicBezTo>
                      <a:pt x="8" y="14"/>
                      <a:pt x="9" y="17"/>
                      <a:pt x="11" y="20"/>
                    </a:cubicBezTo>
                    <a:cubicBezTo>
                      <a:pt x="12" y="26"/>
                      <a:pt x="17" y="51"/>
                      <a:pt x="9" y="40"/>
                    </a:cubicBezTo>
                    <a:cubicBezTo>
                      <a:pt x="8" y="35"/>
                      <a:pt x="0" y="0"/>
                      <a:pt x="5" y="11"/>
                    </a:cubicBez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sp>
            <p:nvSpPr>
              <p:cNvPr id="41" name="Freeform 104"/>
              <p:cNvSpPr>
                <a:spLocks noChangeAspect="1"/>
              </p:cNvSpPr>
              <p:nvPr/>
            </p:nvSpPr>
            <p:spPr bwMode="auto">
              <a:xfrm>
                <a:off x="364" y="6911"/>
                <a:ext cx="76" cy="52"/>
              </a:xfrm>
              <a:custGeom>
                <a:avLst/>
                <a:gdLst/>
                <a:ahLst/>
                <a:cxnLst>
                  <a:cxn ang="0">
                    <a:pos x="0" y="0"/>
                  </a:cxn>
                  <a:cxn ang="0">
                    <a:pos x="16" y="13"/>
                  </a:cxn>
                  <a:cxn ang="0">
                    <a:pos x="0" y="0"/>
                  </a:cxn>
                </a:cxnLst>
                <a:rect l="0" t="0" r="r" b="b"/>
                <a:pathLst>
                  <a:path w="19" h="13">
                    <a:moveTo>
                      <a:pt x="0" y="0"/>
                    </a:moveTo>
                    <a:cubicBezTo>
                      <a:pt x="7" y="3"/>
                      <a:pt x="10" y="11"/>
                      <a:pt x="16" y="13"/>
                    </a:cubicBezTo>
                    <a:cubicBezTo>
                      <a:pt x="19" y="2"/>
                      <a:pt x="9" y="0"/>
                      <a:pt x="0" y="0"/>
                    </a:cubicBez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sp>
            <p:nvSpPr>
              <p:cNvPr id="42" name="Freeform 105"/>
              <p:cNvSpPr>
                <a:spLocks noChangeAspect="1"/>
              </p:cNvSpPr>
              <p:nvPr/>
            </p:nvSpPr>
            <p:spPr bwMode="auto">
              <a:xfrm>
                <a:off x="2347" y="8050"/>
                <a:ext cx="260" cy="480"/>
              </a:xfrm>
              <a:custGeom>
                <a:avLst/>
                <a:gdLst/>
                <a:ahLst/>
                <a:cxnLst>
                  <a:cxn ang="0">
                    <a:pos x="49" y="27"/>
                  </a:cxn>
                  <a:cxn ang="0">
                    <a:pos x="57" y="0"/>
                  </a:cxn>
                  <a:cxn ang="0">
                    <a:pos x="56" y="25"/>
                  </a:cxn>
                  <a:cxn ang="0">
                    <a:pos x="61" y="36"/>
                  </a:cxn>
                  <a:cxn ang="0">
                    <a:pos x="60" y="72"/>
                  </a:cxn>
                  <a:cxn ang="0">
                    <a:pos x="55" y="85"/>
                  </a:cxn>
                  <a:cxn ang="0">
                    <a:pos x="54" y="88"/>
                  </a:cxn>
                  <a:cxn ang="0">
                    <a:pos x="51" y="103"/>
                  </a:cxn>
                  <a:cxn ang="0">
                    <a:pos x="44" y="120"/>
                  </a:cxn>
                  <a:cxn ang="0">
                    <a:pos x="24" y="106"/>
                  </a:cxn>
                  <a:cxn ang="0">
                    <a:pos x="22" y="103"/>
                  </a:cxn>
                  <a:cxn ang="0">
                    <a:pos x="24" y="99"/>
                  </a:cxn>
                  <a:cxn ang="0">
                    <a:pos x="19" y="94"/>
                  </a:cxn>
                  <a:cxn ang="0">
                    <a:pos x="19" y="78"/>
                  </a:cxn>
                  <a:cxn ang="0">
                    <a:pos x="13" y="79"/>
                  </a:cxn>
                  <a:cxn ang="0">
                    <a:pos x="18" y="67"/>
                  </a:cxn>
                  <a:cxn ang="0">
                    <a:pos x="10" y="52"/>
                  </a:cxn>
                  <a:cxn ang="0">
                    <a:pos x="18" y="34"/>
                  </a:cxn>
                  <a:cxn ang="0">
                    <a:pos x="37" y="23"/>
                  </a:cxn>
                  <a:cxn ang="0">
                    <a:pos x="49" y="24"/>
                  </a:cxn>
                  <a:cxn ang="0">
                    <a:pos x="49" y="27"/>
                  </a:cxn>
                </a:cxnLst>
                <a:rect l="0" t="0" r="r" b="b"/>
                <a:pathLst>
                  <a:path w="65" h="120">
                    <a:moveTo>
                      <a:pt x="49" y="27"/>
                    </a:moveTo>
                    <a:cubicBezTo>
                      <a:pt x="53" y="16"/>
                      <a:pt x="45" y="4"/>
                      <a:pt x="57" y="0"/>
                    </a:cubicBezTo>
                    <a:cubicBezTo>
                      <a:pt x="59" y="6"/>
                      <a:pt x="56" y="19"/>
                      <a:pt x="56" y="25"/>
                    </a:cubicBezTo>
                    <a:cubicBezTo>
                      <a:pt x="57" y="31"/>
                      <a:pt x="56" y="33"/>
                      <a:pt x="61" y="36"/>
                    </a:cubicBezTo>
                    <a:cubicBezTo>
                      <a:pt x="63" y="48"/>
                      <a:pt x="65" y="61"/>
                      <a:pt x="60" y="72"/>
                    </a:cubicBezTo>
                    <a:cubicBezTo>
                      <a:pt x="58" y="76"/>
                      <a:pt x="56" y="81"/>
                      <a:pt x="55" y="85"/>
                    </a:cubicBezTo>
                    <a:cubicBezTo>
                      <a:pt x="55" y="86"/>
                      <a:pt x="54" y="88"/>
                      <a:pt x="54" y="88"/>
                    </a:cubicBezTo>
                    <a:cubicBezTo>
                      <a:pt x="55" y="94"/>
                      <a:pt x="56" y="98"/>
                      <a:pt x="51" y="103"/>
                    </a:cubicBezTo>
                    <a:cubicBezTo>
                      <a:pt x="49" y="109"/>
                      <a:pt x="47" y="115"/>
                      <a:pt x="44" y="120"/>
                    </a:cubicBezTo>
                    <a:cubicBezTo>
                      <a:pt x="36" y="119"/>
                      <a:pt x="32" y="111"/>
                      <a:pt x="24" y="106"/>
                    </a:cubicBezTo>
                    <a:cubicBezTo>
                      <a:pt x="23" y="105"/>
                      <a:pt x="22" y="104"/>
                      <a:pt x="22" y="103"/>
                    </a:cubicBezTo>
                    <a:cubicBezTo>
                      <a:pt x="22" y="102"/>
                      <a:pt x="23" y="100"/>
                      <a:pt x="24" y="99"/>
                    </a:cubicBezTo>
                    <a:cubicBezTo>
                      <a:pt x="27" y="91"/>
                      <a:pt x="27" y="93"/>
                      <a:pt x="19" y="94"/>
                    </a:cubicBezTo>
                    <a:cubicBezTo>
                      <a:pt x="9" y="92"/>
                      <a:pt x="17" y="84"/>
                      <a:pt x="19" y="78"/>
                    </a:cubicBezTo>
                    <a:cubicBezTo>
                      <a:pt x="17" y="77"/>
                      <a:pt x="14" y="81"/>
                      <a:pt x="13" y="79"/>
                    </a:cubicBezTo>
                    <a:cubicBezTo>
                      <a:pt x="11" y="75"/>
                      <a:pt x="18" y="67"/>
                      <a:pt x="18" y="67"/>
                    </a:cubicBezTo>
                    <a:cubicBezTo>
                      <a:pt x="6" y="63"/>
                      <a:pt x="0" y="66"/>
                      <a:pt x="10" y="52"/>
                    </a:cubicBezTo>
                    <a:cubicBezTo>
                      <a:pt x="8" y="42"/>
                      <a:pt x="9" y="40"/>
                      <a:pt x="18" y="34"/>
                    </a:cubicBezTo>
                    <a:cubicBezTo>
                      <a:pt x="20" y="31"/>
                      <a:pt x="33" y="24"/>
                      <a:pt x="37" y="23"/>
                    </a:cubicBezTo>
                    <a:cubicBezTo>
                      <a:pt x="41" y="23"/>
                      <a:pt x="45" y="23"/>
                      <a:pt x="49" y="24"/>
                    </a:cubicBezTo>
                    <a:cubicBezTo>
                      <a:pt x="50" y="24"/>
                      <a:pt x="50" y="27"/>
                      <a:pt x="49" y="27"/>
                    </a:cubicBez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sp>
            <p:nvSpPr>
              <p:cNvPr id="43" name="Freeform 106"/>
              <p:cNvSpPr>
                <a:spLocks noChangeAspect="1"/>
              </p:cNvSpPr>
              <p:nvPr/>
            </p:nvSpPr>
            <p:spPr bwMode="auto">
              <a:xfrm>
                <a:off x="-144" y="5643"/>
                <a:ext cx="2501" cy="2523"/>
              </a:xfrm>
              <a:custGeom>
                <a:avLst/>
                <a:gdLst/>
                <a:ahLst/>
                <a:cxnLst>
                  <a:cxn ang="0">
                    <a:pos x="1303" y="28"/>
                  </a:cxn>
                  <a:cxn ang="0">
                    <a:pos x="1044" y="308"/>
                  </a:cxn>
                  <a:cxn ang="0">
                    <a:pos x="920" y="436"/>
                  </a:cxn>
                  <a:cxn ang="0">
                    <a:pos x="728" y="380"/>
                  </a:cxn>
                  <a:cxn ang="0">
                    <a:pos x="588" y="344"/>
                  </a:cxn>
                  <a:cxn ang="0">
                    <a:pos x="560" y="584"/>
                  </a:cxn>
                  <a:cxn ang="0">
                    <a:pos x="164" y="508"/>
                  </a:cxn>
                  <a:cxn ang="0">
                    <a:pos x="60" y="584"/>
                  </a:cxn>
                  <a:cxn ang="0">
                    <a:pos x="12" y="680"/>
                  </a:cxn>
                  <a:cxn ang="0">
                    <a:pos x="100" y="720"/>
                  </a:cxn>
                  <a:cxn ang="0">
                    <a:pos x="284" y="872"/>
                  </a:cxn>
                  <a:cxn ang="0">
                    <a:pos x="404" y="948"/>
                  </a:cxn>
                  <a:cxn ang="0">
                    <a:pos x="412" y="1032"/>
                  </a:cxn>
                  <a:cxn ang="0">
                    <a:pos x="500" y="1204"/>
                  </a:cxn>
                  <a:cxn ang="0">
                    <a:pos x="608" y="1315"/>
                  </a:cxn>
                  <a:cxn ang="0">
                    <a:pos x="644" y="1559"/>
                  </a:cxn>
                  <a:cxn ang="0">
                    <a:pos x="620" y="1607"/>
                  </a:cxn>
                  <a:cxn ang="0">
                    <a:pos x="504" y="1651"/>
                  </a:cxn>
                  <a:cxn ang="0">
                    <a:pos x="444" y="1919"/>
                  </a:cxn>
                  <a:cxn ang="0">
                    <a:pos x="381" y="2100"/>
                  </a:cxn>
                  <a:cxn ang="0">
                    <a:pos x="528" y="2251"/>
                  </a:cxn>
                  <a:cxn ang="0">
                    <a:pos x="788" y="2383"/>
                  </a:cxn>
                  <a:cxn ang="0">
                    <a:pos x="988" y="2407"/>
                  </a:cxn>
                  <a:cxn ang="0">
                    <a:pos x="1196" y="2502"/>
                  </a:cxn>
                  <a:cxn ang="0">
                    <a:pos x="1347" y="2335"/>
                  </a:cxn>
                  <a:cxn ang="0">
                    <a:pos x="1779" y="2283"/>
                  </a:cxn>
                  <a:cxn ang="0">
                    <a:pos x="2155" y="2299"/>
                  </a:cxn>
                  <a:cxn ang="0">
                    <a:pos x="2311" y="2183"/>
                  </a:cxn>
                  <a:cxn ang="0">
                    <a:pos x="2243" y="2071"/>
                  </a:cxn>
                  <a:cxn ang="0">
                    <a:pos x="2167" y="1855"/>
                  </a:cxn>
                  <a:cxn ang="0">
                    <a:pos x="2243" y="1733"/>
                  </a:cxn>
                  <a:cxn ang="0">
                    <a:pos x="2211" y="1581"/>
                  </a:cxn>
                  <a:cxn ang="0">
                    <a:pos x="2215" y="1543"/>
                  </a:cxn>
                  <a:cxn ang="0">
                    <a:pos x="2075" y="1439"/>
                  </a:cxn>
                  <a:cxn ang="0">
                    <a:pos x="2071" y="1339"/>
                  </a:cxn>
                  <a:cxn ang="0">
                    <a:pos x="2219" y="1156"/>
                  </a:cxn>
                  <a:cxn ang="0">
                    <a:pos x="2363" y="1082"/>
                  </a:cxn>
                  <a:cxn ang="0">
                    <a:pos x="2418" y="758"/>
                  </a:cxn>
                  <a:cxn ang="0">
                    <a:pos x="2307" y="608"/>
                  </a:cxn>
                  <a:cxn ang="0">
                    <a:pos x="2123" y="512"/>
                  </a:cxn>
                  <a:cxn ang="0">
                    <a:pos x="1947" y="452"/>
                  </a:cxn>
                  <a:cxn ang="0">
                    <a:pos x="1862" y="299"/>
                  </a:cxn>
                  <a:cxn ang="0">
                    <a:pos x="1665" y="234"/>
                  </a:cxn>
                  <a:cxn ang="0">
                    <a:pos x="1519" y="100"/>
                  </a:cxn>
                </a:cxnLst>
                <a:rect l="0" t="0" r="r" b="b"/>
                <a:pathLst>
                  <a:path w="2501" h="2523">
                    <a:moveTo>
                      <a:pt x="1484" y="0"/>
                    </a:moveTo>
                    <a:cubicBezTo>
                      <a:pt x="1448" y="4"/>
                      <a:pt x="1407" y="8"/>
                      <a:pt x="1371" y="12"/>
                    </a:cubicBezTo>
                    <a:cubicBezTo>
                      <a:pt x="1347" y="16"/>
                      <a:pt x="1303" y="28"/>
                      <a:pt x="1303" y="28"/>
                    </a:cubicBezTo>
                    <a:cubicBezTo>
                      <a:pt x="1299" y="68"/>
                      <a:pt x="1307" y="108"/>
                      <a:pt x="1283" y="140"/>
                    </a:cubicBezTo>
                    <a:cubicBezTo>
                      <a:pt x="1275" y="168"/>
                      <a:pt x="1275" y="200"/>
                      <a:pt x="1259" y="224"/>
                    </a:cubicBezTo>
                    <a:cubicBezTo>
                      <a:pt x="1244" y="296"/>
                      <a:pt x="1100" y="300"/>
                      <a:pt x="1044" y="308"/>
                    </a:cubicBezTo>
                    <a:cubicBezTo>
                      <a:pt x="1016" y="320"/>
                      <a:pt x="980" y="340"/>
                      <a:pt x="968" y="372"/>
                    </a:cubicBezTo>
                    <a:cubicBezTo>
                      <a:pt x="972" y="392"/>
                      <a:pt x="976" y="400"/>
                      <a:pt x="992" y="416"/>
                    </a:cubicBezTo>
                    <a:cubicBezTo>
                      <a:pt x="988" y="436"/>
                      <a:pt x="944" y="432"/>
                      <a:pt x="920" y="436"/>
                    </a:cubicBezTo>
                    <a:cubicBezTo>
                      <a:pt x="792" y="428"/>
                      <a:pt x="880" y="448"/>
                      <a:pt x="816" y="428"/>
                    </a:cubicBezTo>
                    <a:cubicBezTo>
                      <a:pt x="796" y="424"/>
                      <a:pt x="756" y="412"/>
                      <a:pt x="756" y="412"/>
                    </a:cubicBezTo>
                    <a:cubicBezTo>
                      <a:pt x="740" y="404"/>
                      <a:pt x="740" y="392"/>
                      <a:pt x="728" y="380"/>
                    </a:cubicBezTo>
                    <a:cubicBezTo>
                      <a:pt x="720" y="348"/>
                      <a:pt x="716" y="292"/>
                      <a:pt x="680" y="284"/>
                    </a:cubicBezTo>
                    <a:cubicBezTo>
                      <a:pt x="664" y="284"/>
                      <a:pt x="644" y="280"/>
                      <a:pt x="628" y="288"/>
                    </a:cubicBezTo>
                    <a:cubicBezTo>
                      <a:pt x="612" y="296"/>
                      <a:pt x="604" y="332"/>
                      <a:pt x="588" y="344"/>
                    </a:cubicBezTo>
                    <a:cubicBezTo>
                      <a:pt x="584" y="360"/>
                      <a:pt x="584" y="368"/>
                      <a:pt x="600" y="372"/>
                    </a:cubicBezTo>
                    <a:cubicBezTo>
                      <a:pt x="608" y="428"/>
                      <a:pt x="624" y="484"/>
                      <a:pt x="632" y="540"/>
                    </a:cubicBezTo>
                    <a:cubicBezTo>
                      <a:pt x="652" y="620"/>
                      <a:pt x="624" y="604"/>
                      <a:pt x="560" y="584"/>
                    </a:cubicBezTo>
                    <a:cubicBezTo>
                      <a:pt x="508" y="588"/>
                      <a:pt x="460" y="588"/>
                      <a:pt x="412" y="576"/>
                    </a:cubicBezTo>
                    <a:cubicBezTo>
                      <a:pt x="404" y="564"/>
                      <a:pt x="352" y="492"/>
                      <a:pt x="344" y="488"/>
                    </a:cubicBezTo>
                    <a:cubicBezTo>
                      <a:pt x="300" y="444"/>
                      <a:pt x="220" y="504"/>
                      <a:pt x="164" y="508"/>
                    </a:cubicBezTo>
                    <a:cubicBezTo>
                      <a:pt x="112" y="512"/>
                      <a:pt x="60" y="512"/>
                      <a:pt x="8" y="512"/>
                    </a:cubicBezTo>
                    <a:cubicBezTo>
                      <a:pt x="12" y="528"/>
                      <a:pt x="20" y="568"/>
                      <a:pt x="36" y="576"/>
                    </a:cubicBezTo>
                    <a:cubicBezTo>
                      <a:pt x="44" y="580"/>
                      <a:pt x="60" y="584"/>
                      <a:pt x="60" y="584"/>
                    </a:cubicBezTo>
                    <a:cubicBezTo>
                      <a:pt x="68" y="592"/>
                      <a:pt x="68" y="612"/>
                      <a:pt x="56" y="620"/>
                    </a:cubicBezTo>
                    <a:cubicBezTo>
                      <a:pt x="48" y="624"/>
                      <a:pt x="32" y="628"/>
                      <a:pt x="32" y="628"/>
                    </a:cubicBezTo>
                    <a:cubicBezTo>
                      <a:pt x="20" y="656"/>
                      <a:pt x="24" y="640"/>
                      <a:pt x="12" y="680"/>
                    </a:cubicBezTo>
                    <a:cubicBezTo>
                      <a:pt x="8" y="688"/>
                      <a:pt x="4" y="704"/>
                      <a:pt x="4" y="704"/>
                    </a:cubicBezTo>
                    <a:cubicBezTo>
                      <a:pt x="8" y="716"/>
                      <a:pt x="0" y="732"/>
                      <a:pt x="20" y="732"/>
                    </a:cubicBezTo>
                    <a:cubicBezTo>
                      <a:pt x="36" y="732"/>
                      <a:pt x="100" y="720"/>
                      <a:pt x="100" y="720"/>
                    </a:cubicBezTo>
                    <a:cubicBezTo>
                      <a:pt x="136" y="728"/>
                      <a:pt x="124" y="760"/>
                      <a:pt x="164" y="768"/>
                    </a:cubicBezTo>
                    <a:cubicBezTo>
                      <a:pt x="188" y="784"/>
                      <a:pt x="192" y="792"/>
                      <a:pt x="224" y="800"/>
                    </a:cubicBezTo>
                    <a:cubicBezTo>
                      <a:pt x="292" y="788"/>
                      <a:pt x="252" y="844"/>
                      <a:pt x="284" y="872"/>
                    </a:cubicBezTo>
                    <a:cubicBezTo>
                      <a:pt x="304" y="888"/>
                      <a:pt x="320" y="908"/>
                      <a:pt x="344" y="912"/>
                    </a:cubicBezTo>
                    <a:cubicBezTo>
                      <a:pt x="356" y="920"/>
                      <a:pt x="368" y="912"/>
                      <a:pt x="380" y="920"/>
                    </a:cubicBezTo>
                    <a:cubicBezTo>
                      <a:pt x="384" y="936"/>
                      <a:pt x="388" y="944"/>
                      <a:pt x="404" y="948"/>
                    </a:cubicBezTo>
                    <a:cubicBezTo>
                      <a:pt x="412" y="976"/>
                      <a:pt x="452" y="980"/>
                      <a:pt x="476" y="984"/>
                    </a:cubicBezTo>
                    <a:cubicBezTo>
                      <a:pt x="508" y="1000"/>
                      <a:pt x="508" y="996"/>
                      <a:pt x="548" y="992"/>
                    </a:cubicBezTo>
                    <a:cubicBezTo>
                      <a:pt x="536" y="996"/>
                      <a:pt x="432" y="1012"/>
                      <a:pt x="412" y="1032"/>
                    </a:cubicBezTo>
                    <a:cubicBezTo>
                      <a:pt x="420" y="1064"/>
                      <a:pt x="412" y="1076"/>
                      <a:pt x="428" y="1104"/>
                    </a:cubicBezTo>
                    <a:cubicBezTo>
                      <a:pt x="432" y="1128"/>
                      <a:pt x="432" y="1144"/>
                      <a:pt x="452" y="1156"/>
                    </a:cubicBezTo>
                    <a:cubicBezTo>
                      <a:pt x="460" y="1172"/>
                      <a:pt x="484" y="1200"/>
                      <a:pt x="500" y="1204"/>
                    </a:cubicBezTo>
                    <a:cubicBezTo>
                      <a:pt x="516" y="1236"/>
                      <a:pt x="536" y="1240"/>
                      <a:pt x="560" y="1260"/>
                    </a:cubicBezTo>
                    <a:cubicBezTo>
                      <a:pt x="568" y="1267"/>
                      <a:pt x="584" y="1283"/>
                      <a:pt x="584" y="1283"/>
                    </a:cubicBezTo>
                    <a:cubicBezTo>
                      <a:pt x="588" y="1299"/>
                      <a:pt x="600" y="1295"/>
                      <a:pt x="608" y="1315"/>
                    </a:cubicBezTo>
                    <a:cubicBezTo>
                      <a:pt x="612" y="1371"/>
                      <a:pt x="600" y="1399"/>
                      <a:pt x="584" y="1447"/>
                    </a:cubicBezTo>
                    <a:cubicBezTo>
                      <a:pt x="588" y="1475"/>
                      <a:pt x="588" y="1511"/>
                      <a:pt x="620" y="1523"/>
                    </a:cubicBezTo>
                    <a:cubicBezTo>
                      <a:pt x="624" y="1539"/>
                      <a:pt x="632" y="1547"/>
                      <a:pt x="644" y="1559"/>
                    </a:cubicBezTo>
                    <a:cubicBezTo>
                      <a:pt x="652" y="1587"/>
                      <a:pt x="656" y="1611"/>
                      <a:pt x="660" y="1643"/>
                    </a:cubicBezTo>
                    <a:cubicBezTo>
                      <a:pt x="660" y="1655"/>
                      <a:pt x="668" y="1691"/>
                      <a:pt x="668" y="1679"/>
                    </a:cubicBezTo>
                    <a:cubicBezTo>
                      <a:pt x="668" y="1627"/>
                      <a:pt x="652" y="1627"/>
                      <a:pt x="620" y="1607"/>
                    </a:cubicBezTo>
                    <a:cubicBezTo>
                      <a:pt x="604" y="1583"/>
                      <a:pt x="604" y="1559"/>
                      <a:pt x="588" y="1535"/>
                    </a:cubicBezTo>
                    <a:cubicBezTo>
                      <a:pt x="556" y="1547"/>
                      <a:pt x="560" y="1575"/>
                      <a:pt x="536" y="1591"/>
                    </a:cubicBezTo>
                    <a:cubicBezTo>
                      <a:pt x="528" y="1611"/>
                      <a:pt x="512" y="1627"/>
                      <a:pt x="504" y="1651"/>
                    </a:cubicBezTo>
                    <a:cubicBezTo>
                      <a:pt x="500" y="1659"/>
                      <a:pt x="496" y="1711"/>
                      <a:pt x="504" y="1703"/>
                    </a:cubicBezTo>
                    <a:cubicBezTo>
                      <a:pt x="500" y="1727"/>
                      <a:pt x="492" y="1767"/>
                      <a:pt x="484" y="1807"/>
                    </a:cubicBezTo>
                    <a:cubicBezTo>
                      <a:pt x="464" y="1839"/>
                      <a:pt x="460" y="1883"/>
                      <a:pt x="444" y="1919"/>
                    </a:cubicBezTo>
                    <a:cubicBezTo>
                      <a:pt x="440" y="1947"/>
                      <a:pt x="440" y="2047"/>
                      <a:pt x="412" y="2059"/>
                    </a:cubicBezTo>
                    <a:cubicBezTo>
                      <a:pt x="396" y="2067"/>
                      <a:pt x="396" y="2076"/>
                      <a:pt x="384" y="2088"/>
                    </a:cubicBezTo>
                    <a:cubicBezTo>
                      <a:pt x="380" y="2097"/>
                      <a:pt x="383" y="2088"/>
                      <a:pt x="381" y="2100"/>
                    </a:cubicBezTo>
                    <a:cubicBezTo>
                      <a:pt x="389" y="2112"/>
                      <a:pt x="386" y="2127"/>
                      <a:pt x="389" y="2168"/>
                    </a:cubicBezTo>
                    <a:cubicBezTo>
                      <a:pt x="401" y="2192"/>
                      <a:pt x="438" y="2226"/>
                      <a:pt x="456" y="2252"/>
                    </a:cubicBezTo>
                    <a:cubicBezTo>
                      <a:pt x="510" y="2255"/>
                      <a:pt x="488" y="2247"/>
                      <a:pt x="528" y="2251"/>
                    </a:cubicBezTo>
                    <a:cubicBezTo>
                      <a:pt x="564" y="2291"/>
                      <a:pt x="611" y="2325"/>
                      <a:pt x="659" y="2349"/>
                    </a:cubicBezTo>
                    <a:cubicBezTo>
                      <a:pt x="693" y="2363"/>
                      <a:pt x="696" y="2355"/>
                      <a:pt x="720" y="2363"/>
                    </a:cubicBezTo>
                    <a:cubicBezTo>
                      <a:pt x="736" y="2367"/>
                      <a:pt x="768" y="2383"/>
                      <a:pt x="788" y="2383"/>
                    </a:cubicBezTo>
                    <a:cubicBezTo>
                      <a:pt x="808" y="2383"/>
                      <a:pt x="822" y="2382"/>
                      <a:pt x="836" y="2375"/>
                    </a:cubicBezTo>
                    <a:cubicBezTo>
                      <a:pt x="854" y="2354"/>
                      <a:pt x="851" y="2369"/>
                      <a:pt x="869" y="2343"/>
                    </a:cubicBezTo>
                    <a:cubicBezTo>
                      <a:pt x="901" y="2351"/>
                      <a:pt x="956" y="2391"/>
                      <a:pt x="988" y="2407"/>
                    </a:cubicBezTo>
                    <a:cubicBezTo>
                      <a:pt x="1004" y="2415"/>
                      <a:pt x="1067" y="2437"/>
                      <a:pt x="1083" y="2441"/>
                    </a:cubicBezTo>
                    <a:cubicBezTo>
                      <a:pt x="1095" y="2481"/>
                      <a:pt x="1097" y="2481"/>
                      <a:pt x="1101" y="2499"/>
                    </a:cubicBezTo>
                    <a:cubicBezTo>
                      <a:pt x="1133" y="2501"/>
                      <a:pt x="1172" y="2504"/>
                      <a:pt x="1196" y="2502"/>
                    </a:cubicBezTo>
                    <a:cubicBezTo>
                      <a:pt x="1224" y="2502"/>
                      <a:pt x="1247" y="2496"/>
                      <a:pt x="1274" y="2496"/>
                    </a:cubicBezTo>
                    <a:cubicBezTo>
                      <a:pt x="1294" y="2496"/>
                      <a:pt x="1346" y="2493"/>
                      <a:pt x="1346" y="2493"/>
                    </a:cubicBezTo>
                    <a:cubicBezTo>
                      <a:pt x="1362" y="2425"/>
                      <a:pt x="1335" y="2523"/>
                      <a:pt x="1347" y="2335"/>
                    </a:cubicBezTo>
                    <a:cubicBezTo>
                      <a:pt x="1351" y="2271"/>
                      <a:pt x="1459" y="2259"/>
                      <a:pt x="1507" y="2251"/>
                    </a:cubicBezTo>
                    <a:cubicBezTo>
                      <a:pt x="1575" y="2255"/>
                      <a:pt x="1611" y="2223"/>
                      <a:pt x="1679" y="2239"/>
                    </a:cubicBezTo>
                    <a:cubicBezTo>
                      <a:pt x="1699" y="2251"/>
                      <a:pt x="1755" y="2279"/>
                      <a:pt x="1779" y="2283"/>
                    </a:cubicBezTo>
                    <a:cubicBezTo>
                      <a:pt x="1851" y="2311"/>
                      <a:pt x="1919" y="2339"/>
                      <a:pt x="1999" y="2351"/>
                    </a:cubicBezTo>
                    <a:cubicBezTo>
                      <a:pt x="2039" y="2351"/>
                      <a:pt x="2079" y="2355"/>
                      <a:pt x="2115" y="2347"/>
                    </a:cubicBezTo>
                    <a:cubicBezTo>
                      <a:pt x="2119" y="2347"/>
                      <a:pt x="2139" y="2303"/>
                      <a:pt x="2155" y="2299"/>
                    </a:cubicBezTo>
                    <a:cubicBezTo>
                      <a:pt x="2171" y="2283"/>
                      <a:pt x="2171" y="2271"/>
                      <a:pt x="2191" y="2259"/>
                    </a:cubicBezTo>
                    <a:cubicBezTo>
                      <a:pt x="2207" y="2247"/>
                      <a:pt x="2219" y="2215"/>
                      <a:pt x="2239" y="2203"/>
                    </a:cubicBezTo>
                    <a:cubicBezTo>
                      <a:pt x="2259" y="2191"/>
                      <a:pt x="2295" y="2195"/>
                      <a:pt x="2311" y="2183"/>
                    </a:cubicBezTo>
                    <a:cubicBezTo>
                      <a:pt x="2318" y="2150"/>
                      <a:pt x="2333" y="2154"/>
                      <a:pt x="2347" y="2135"/>
                    </a:cubicBezTo>
                    <a:cubicBezTo>
                      <a:pt x="2357" y="2088"/>
                      <a:pt x="2354" y="2100"/>
                      <a:pt x="2345" y="2078"/>
                    </a:cubicBezTo>
                    <a:cubicBezTo>
                      <a:pt x="2304" y="2069"/>
                      <a:pt x="2295" y="2072"/>
                      <a:pt x="2243" y="2071"/>
                    </a:cubicBezTo>
                    <a:cubicBezTo>
                      <a:pt x="2231" y="2067"/>
                      <a:pt x="2198" y="2064"/>
                      <a:pt x="2183" y="1979"/>
                    </a:cubicBezTo>
                    <a:cubicBezTo>
                      <a:pt x="2187" y="1956"/>
                      <a:pt x="2201" y="1937"/>
                      <a:pt x="2220" y="1892"/>
                    </a:cubicBezTo>
                    <a:cubicBezTo>
                      <a:pt x="2219" y="1854"/>
                      <a:pt x="2223" y="1859"/>
                      <a:pt x="2167" y="1855"/>
                    </a:cubicBezTo>
                    <a:cubicBezTo>
                      <a:pt x="2127" y="1859"/>
                      <a:pt x="2142" y="1817"/>
                      <a:pt x="2121" y="1823"/>
                    </a:cubicBezTo>
                    <a:cubicBezTo>
                      <a:pt x="2117" y="1815"/>
                      <a:pt x="2116" y="1798"/>
                      <a:pt x="2124" y="1790"/>
                    </a:cubicBezTo>
                    <a:cubicBezTo>
                      <a:pt x="2186" y="1788"/>
                      <a:pt x="2222" y="1743"/>
                      <a:pt x="2243" y="1733"/>
                    </a:cubicBezTo>
                    <a:cubicBezTo>
                      <a:pt x="2229" y="1704"/>
                      <a:pt x="2225" y="1695"/>
                      <a:pt x="2213" y="1659"/>
                    </a:cubicBezTo>
                    <a:cubicBezTo>
                      <a:pt x="2209" y="1647"/>
                      <a:pt x="2203" y="1619"/>
                      <a:pt x="2203" y="1619"/>
                    </a:cubicBezTo>
                    <a:cubicBezTo>
                      <a:pt x="2201" y="1590"/>
                      <a:pt x="2210" y="1589"/>
                      <a:pt x="2211" y="1581"/>
                    </a:cubicBezTo>
                    <a:cubicBezTo>
                      <a:pt x="2212" y="1573"/>
                      <a:pt x="2205" y="1571"/>
                      <a:pt x="2207" y="1568"/>
                    </a:cubicBezTo>
                    <a:cubicBezTo>
                      <a:pt x="2209" y="1565"/>
                      <a:pt x="2225" y="1564"/>
                      <a:pt x="2226" y="1560"/>
                    </a:cubicBezTo>
                    <a:cubicBezTo>
                      <a:pt x="2227" y="1556"/>
                      <a:pt x="2220" y="1555"/>
                      <a:pt x="2215" y="1543"/>
                    </a:cubicBezTo>
                    <a:cubicBezTo>
                      <a:pt x="2211" y="1519"/>
                      <a:pt x="2207" y="1507"/>
                      <a:pt x="2195" y="1487"/>
                    </a:cubicBezTo>
                    <a:cubicBezTo>
                      <a:pt x="2191" y="1455"/>
                      <a:pt x="2195" y="1431"/>
                      <a:pt x="2159" y="1423"/>
                    </a:cubicBezTo>
                    <a:cubicBezTo>
                      <a:pt x="2127" y="1423"/>
                      <a:pt x="2107" y="1435"/>
                      <a:pt x="2075" y="1439"/>
                    </a:cubicBezTo>
                    <a:cubicBezTo>
                      <a:pt x="2055" y="1443"/>
                      <a:pt x="2043" y="1483"/>
                      <a:pt x="2023" y="1495"/>
                    </a:cubicBezTo>
                    <a:cubicBezTo>
                      <a:pt x="2027" y="1467"/>
                      <a:pt x="2043" y="1423"/>
                      <a:pt x="2059" y="1399"/>
                    </a:cubicBezTo>
                    <a:cubicBezTo>
                      <a:pt x="2071" y="1379"/>
                      <a:pt x="2051" y="1367"/>
                      <a:pt x="2071" y="1339"/>
                    </a:cubicBezTo>
                    <a:cubicBezTo>
                      <a:pt x="2083" y="1323"/>
                      <a:pt x="2107" y="1311"/>
                      <a:pt x="2123" y="1295"/>
                    </a:cubicBezTo>
                    <a:cubicBezTo>
                      <a:pt x="2139" y="1279"/>
                      <a:pt x="2155" y="1256"/>
                      <a:pt x="2171" y="1232"/>
                    </a:cubicBezTo>
                    <a:cubicBezTo>
                      <a:pt x="2187" y="1208"/>
                      <a:pt x="2207" y="1180"/>
                      <a:pt x="2219" y="1156"/>
                    </a:cubicBezTo>
                    <a:cubicBezTo>
                      <a:pt x="2231" y="1132"/>
                      <a:pt x="2231" y="1096"/>
                      <a:pt x="2251" y="1084"/>
                    </a:cubicBezTo>
                    <a:cubicBezTo>
                      <a:pt x="2303" y="1088"/>
                      <a:pt x="2311" y="1096"/>
                      <a:pt x="2347" y="1092"/>
                    </a:cubicBezTo>
                    <a:cubicBezTo>
                      <a:pt x="2358" y="1082"/>
                      <a:pt x="2357" y="1088"/>
                      <a:pt x="2363" y="1082"/>
                    </a:cubicBezTo>
                    <a:cubicBezTo>
                      <a:pt x="2358" y="1073"/>
                      <a:pt x="2343" y="1034"/>
                      <a:pt x="2351" y="993"/>
                    </a:cubicBezTo>
                    <a:cubicBezTo>
                      <a:pt x="2355" y="941"/>
                      <a:pt x="2390" y="899"/>
                      <a:pt x="2414" y="833"/>
                    </a:cubicBezTo>
                    <a:cubicBezTo>
                      <a:pt x="2422" y="805"/>
                      <a:pt x="2394" y="771"/>
                      <a:pt x="2418" y="758"/>
                    </a:cubicBezTo>
                    <a:cubicBezTo>
                      <a:pt x="2469" y="747"/>
                      <a:pt x="2472" y="734"/>
                      <a:pt x="2493" y="705"/>
                    </a:cubicBezTo>
                    <a:cubicBezTo>
                      <a:pt x="2501" y="673"/>
                      <a:pt x="2489" y="680"/>
                      <a:pt x="2431" y="656"/>
                    </a:cubicBezTo>
                    <a:cubicBezTo>
                      <a:pt x="2387" y="626"/>
                      <a:pt x="2346" y="599"/>
                      <a:pt x="2307" y="608"/>
                    </a:cubicBezTo>
                    <a:cubicBezTo>
                      <a:pt x="2275" y="600"/>
                      <a:pt x="2275" y="604"/>
                      <a:pt x="2239" y="600"/>
                    </a:cubicBezTo>
                    <a:cubicBezTo>
                      <a:pt x="2219" y="580"/>
                      <a:pt x="2208" y="567"/>
                      <a:pt x="2183" y="552"/>
                    </a:cubicBezTo>
                    <a:cubicBezTo>
                      <a:pt x="2160" y="509"/>
                      <a:pt x="2162" y="504"/>
                      <a:pt x="2123" y="512"/>
                    </a:cubicBezTo>
                    <a:cubicBezTo>
                      <a:pt x="2109" y="521"/>
                      <a:pt x="2082" y="528"/>
                      <a:pt x="2061" y="513"/>
                    </a:cubicBezTo>
                    <a:cubicBezTo>
                      <a:pt x="2037" y="513"/>
                      <a:pt x="2033" y="492"/>
                      <a:pt x="2010" y="510"/>
                    </a:cubicBezTo>
                    <a:cubicBezTo>
                      <a:pt x="1964" y="497"/>
                      <a:pt x="1970" y="459"/>
                      <a:pt x="1947" y="452"/>
                    </a:cubicBezTo>
                    <a:cubicBezTo>
                      <a:pt x="1932" y="425"/>
                      <a:pt x="1903" y="414"/>
                      <a:pt x="1875" y="408"/>
                    </a:cubicBezTo>
                    <a:cubicBezTo>
                      <a:pt x="1877" y="360"/>
                      <a:pt x="1878" y="360"/>
                      <a:pt x="1860" y="345"/>
                    </a:cubicBezTo>
                    <a:cubicBezTo>
                      <a:pt x="1875" y="315"/>
                      <a:pt x="1869" y="296"/>
                      <a:pt x="1862" y="299"/>
                    </a:cubicBezTo>
                    <a:cubicBezTo>
                      <a:pt x="1836" y="302"/>
                      <a:pt x="1839" y="344"/>
                      <a:pt x="1823" y="360"/>
                    </a:cubicBezTo>
                    <a:cubicBezTo>
                      <a:pt x="1748" y="371"/>
                      <a:pt x="1761" y="356"/>
                      <a:pt x="1747" y="308"/>
                    </a:cubicBezTo>
                    <a:cubicBezTo>
                      <a:pt x="1723" y="204"/>
                      <a:pt x="1715" y="252"/>
                      <a:pt x="1665" y="234"/>
                    </a:cubicBezTo>
                    <a:cubicBezTo>
                      <a:pt x="1645" y="202"/>
                      <a:pt x="1665" y="179"/>
                      <a:pt x="1596" y="173"/>
                    </a:cubicBezTo>
                    <a:cubicBezTo>
                      <a:pt x="1589" y="159"/>
                      <a:pt x="1591" y="136"/>
                      <a:pt x="1575" y="116"/>
                    </a:cubicBezTo>
                    <a:cubicBezTo>
                      <a:pt x="1567" y="96"/>
                      <a:pt x="1557" y="95"/>
                      <a:pt x="1519" y="100"/>
                    </a:cubicBezTo>
                    <a:cubicBezTo>
                      <a:pt x="1484" y="96"/>
                      <a:pt x="1484" y="40"/>
                      <a:pt x="1484" y="0"/>
                    </a:cubicBez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grpSp>
        <p:sp>
          <p:nvSpPr>
            <p:cNvPr id="12" name="Freeform 107"/>
            <p:cNvSpPr>
              <a:spLocks noChangeAspect="1"/>
            </p:cNvSpPr>
            <p:nvPr>
              <p:custDataLst>
                <p:tags r:id="rId8"/>
              </p:custDataLst>
            </p:nvPr>
          </p:nvSpPr>
          <p:spPr bwMode="auto">
            <a:xfrm>
              <a:off x="1785810" y="4577229"/>
              <a:ext cx="383011" cy="335736"/>
            </a:xfrm>
            <a:custGeom>
              <a:avLst/>
              <a:gdLst/>
              <a:ahLst/>
              <a:cxnLst>
                <a:cxn ang="0">
                  <a:pos x="181" y="0"/>
                </a:cxn>
                <a:cxn ang="0">
                  <a:pos x="187" y="20"/>
                </a:cxn>
                <a:cxn ang="0">
                  <a:pos x="214" y="33"/>
                </a:cxn>
                <a:cxn ang="0">
                  <a:pos x="237" y="53"/>
                </a:cxn>
                <a:cxn ang="0">
                  <a:pos x="312" y="31"/>
                </a:cxn>
                <a:cxn ang="0">
                  <a:pos x="358" y="11"/>
                </a:cxn>
                <a:cxn ang="0">
                  <a:pos x="375" y="14"/>
                </a:cxn>
                <a:cxn ang="0">
                  <a:pos x="474" y="39"/>
                </a:cxn>
                <a:cxn ang="0">
                  <a:pos x="521" y="84"/>
                </a:cxn>
                <a:cxn ang="0">
                  <a:pos x="597" y="119"/>
                </a:cxn>
                <a:cxn ang="0">
                  <a:pos x="558" y="209"/>
                </a:cxn>
                <a:cxn ang="0">
                  <a:pos x="627" y="224"/>
                </a:cxn>
                <a:cxn ang="0">
                  <a:pos x="649" y="287"/>
                </a:cxn>
                <a:cxn ang="0">
                  <a:pos x="688" y="353"/>
                </a:cxn>
                <a:cxn ang="0">
                  <a:pos x="661" y="374"/>
                </a:cxn>
                <a:cxn ang="0">
                  <a:pos x="642" y="431"/>
                </a:cxn>
                <a:cxn ang="0">
                  <a:pos x="591" y="441"/>
                </a:cxn>
                <a:cxn ang="0">
                  <a:pos x="572" y="491"/>
                </a:cxn>
                <a:cxn ang="0">
                  <a:pos x="561" y="602"/>
                </a:cxn>
                <a:cxn ang="0">
                  <a:pos x="540" y="607"/>
                </a:cxn>
                <a:cxn ang="0">
                  <a:pos x="476" y="551"/>
                </a:cxn>
                <a:cxn ang="0">
                  <a:pos x="404" y="507"/>
                </a:cxn>
                <a:cxn ang="0">
                  <a:pos x="384" y="443"/>
                </a:cxn>
                <a:cxn ang="0">
                  <a:pos x="396" y="411"/>
                </a:cxn>
                <a:cxn ang="0">
                  <a:pos x="360" y="431"/>
                </a:cxn>
                <a:cxn ang="0">
                  <a:pos x="324" y="463"/>
                </a:cxn>
                <a:cxn ang="0">
                  <a:pos x="288" y="455"/>
                </a:cxn>
                <a:cxn ang="0">
                  <a:pos x="272" y="407"/>
                </a:cxn>
                <a:cxn ang="0">
                  <a:pos x="192" y="335"/>
                </a:cxn>
                <a:cxn ang="0">
                  <a:pos x="120" y="271"/>
                </a:cxn>
                <a:cxn ang="0">
                  <a:pos x="72" y="195"/>
                </a:cxn>
                <a:cxn ang="0">
                  <a:pos x="24" y="191"/>
                </a:cxn>
                <a:cxn ang="0">
                  <a:pos x="12" y="155"/>
                </a:cxn>
                <a:cxn ang="0">
                  <a:pos x="32" y="83"/>
                </a:cxn>
                <a:cxn ang="0">
                  <a:pos x="88" y="47"/>
                </a:cxn>
                <a:cxn ang="0">
                  <a:pos x="152" y="15"/>
                </a:cxn>
                <a:cxn ang="0">
                  <a:pos x="181" y="0"/>
                </a:cxn>
              </a:cxnLst>
              <a:rect l="0" t="0" r="r" b="b"/>
              <a:pathLst>
                <a:path w="691" h="607">
                  <a:moveTo>
                    <a:pt x="181" y="0"/>
                  </a:moveTo>
                  <a:cubicBezTo>
                    <a:pt x="188" y="1"/>
                    <a:pt x="178" y="11"/>
                    <a:pt x="187" y="20"/>
                  </a:cubicBezTo>
                  <a:cubicBezTo>
                    <a:pt x="192" y="25"/>
                    <a:pt x="206" y="28"/>
                    <a:pt x="214" y="33"/>
                  </a:cubicBezTo>
                  <a:cubicBezTo>
                    <a:pt x="222" y="38"/>
                    <a:pt x="213" y="54"/>
                    <a:pt x="237" y="53"/>
                  </a:cubicBezTo>
                  <a:cubicBezTo>
                    <a:pt x="273" y="60"/>
                    <a:pt x="284" y="39"/>
                    <a:pt x="312" y="31"/>
                  </a:cubicBezTo>
                  <a:cubicBezTo>
                    <a:pt x="324" y="27"/>
                    <a:pt x="358" y="11"/>
                    <a:pt x="358" y="11"/>
                  </a:cubicBezTo>
                  <a:cubicBezTo>
                    <a:pt x="374" y="10"/>
                    <a:pt x="356" y="9"/>
                    <a:pt x="375" y="14"/>
                  </a:cubicBezTo>
                  <a:cubicBezTo>
                    <a:pt x="394" y="19"/>
                    <a:pt x="450" y="27"/>
                    <a:pt x="474" y="39"/>
                  </a:cubicBezTo>
                  <a:cubicBezTo>
                    <a:pt x="484" y="74"/>
                    <a:pt x="500" y="71"/>
                    <a:pt x="521" y="84"/>
                  </a:cubicBezTo>
                  <a:cubicBezTo>
                    <a:pt x="535" y="87"/>
                    <a:pt x="590" y="99"/>
                    <a:pt x="597" y="119"/>
                  </a:cubicBezTo>
                  <a:cubicBezTo>
                    <a:pt x="603" y="144"/>
                    <a:pt x="561" y="176"/>
                    <a:pt x="558" y="209"/>
                  </a:cubicBezTo>
                  <a:cubicBezTo>
                    <a:pt x="574" y="236"/>
                    <a:pt x="576" y="239"/>
                    <a:pt x="627" y="224"/>
                  </a:cubicBezTo>
                  <a:cubicBezTo>
                    <a:pt x="622" y="236"/>
                    <a:pt x="625" y="263"/>
                    <a:pt x="649" y="287"/>
                  </a:cubicBezTo>
                  <a:cubicBezTo>
                    <a:pt x="661" y="295"/>
                    <a:pt x="691" y="338"/>
                    <a:pt x="688" y="353"/>
                  </a:cubicBezTo>
                  <a:cubicBezTo>
                    <a:pt x="684" y="373"/>
                    <a:pt x="673" y="363"/>
                    <a:pt x="661" y="374"/>
                  </a:cubicBezTo>
                  <a:cubicBezTo>
                    <a:pt x="653" y="386"/>
                    <a:pt x="642" y="431"/>
                    <a:pt x="642" y="431"/>
                  </a:cubicBezTo>
                  <a:cubicBezTo>
                    <a:pt x="627" y="434"/>
                    <a:pt x="603" y="432"/>
                    <a:pt x="591" y="441"/>
                  </a:cubicBezTo>
                  <a:cubicBezTo>
                    <a:pt x="593" y="487"/>
                    <a:pt x="576" y="475"/>
                    <a:pt x="572" y="491"/>
                  </a:cubicBezTo>
                  <a:cubicBezTo>
                    <a:pt x="566" y="516"/>
                    <a:pt x="558" y="581"/>
                    <a:pt x="561" y="602"/>
                  </a:cubicBezTo>
                  <a:cubicBezTo>
                    <a:pt x="552" y="605"/>
                    <a:pt x="561" y="602"/>
                    <a:pt x="540" y="607"/>
                  </a:cubicBezTo>
                  <a:cubicBezTo>
                    <a:pt x="484" y="595"/>
                    <a:pt x="508" y="575"/>
                    <a:pt x="476" y="551"/>
                  </a:cubicBezTo>
                  <a:cubicBezTo>
                    <a:pt x="452" y="531"/>
                    <a:pt x="436" y="511"/>
                    <a:pt x="404" y="507"/>
                  </a:cubicBezTo>
                  <a:cubicBezTo>
                    <a:pt x="396" y="483"/>
                    <a:pt x="412" y="451"/>
                    <a:pt x="384" y="443"/>
                  </a:cubicBezTo>
                  <a:cubicBezTo>
                    <a:pt x="392" y="431"/>
                    <a:pt x="388" y="423"/>
                    <a:pt x="396" y="411"/>
                  </a:cubicBezTo>
                  <a:cubicBezTo>
                    <a:pt x="384" y="375"/>
                    <a:pt x="368" y="419"/>
                    <a:pt x="360" y="431"/>
                  </a:cubicBezTo>
                  <a:cubicBezTo>
                    <a:pt x="348" y="463"/>
                    <a:pt x="352" y="455"/>
                    <a:pt x="324" y="463"/>
                  </a:cubicBezTo>
                  <a:cubicBezTo>
                    <a:pt x="312" y="459"/>
                    <a:pt x="296" y="467"/>
                    <a:pt x="288" y="455"/>
                  </a:cubicBezTo>
                  <a:cubicBezTo>
                    <a:pt x="284" y="447"/>
                    <a:pt x="272" y="407"/>
                    <a:pt x="272" y="407"/>
                  </a:cubicBezTo>
                  <a:cubicBezTo>
                    <a:pt x="248" y="327"/>
                    <a:pt x="268" y="343"/>
                    <a:pt x="192" y="335"/>
                  </a:cubicBezTo>
                  <a:cubicBezTo>
                    <a:pt x="176" y="287"/>
                    <a:pt x="172" y="279"/>
                    <a:pt x="120" y="271"/>
                  </a:cubicBezTo>
                  <a:cubicBezTo>
                    <a:pt x="104" y="235"/>
                    <a:pt x="116" y="207"/>
                    <a:pt x="72" y="195"/>
                  </a:cubicBezTo>
                  <a:cubicBezTo>
                    <a:pt x="44" y="203"/>
                    <a:pt x="48" y="207"/>
                    <a:pt x="24" y="191"/>
                  </a:cubicBezTo>
                  <a:cubicBezTo>
                    <a:pt x="20" y="179"/>
                    <a:pt x="12" y="155"/>
                    <a:pt x="12" y="155"/>
                  </a:cubicBezTo>
                  <a:cubicBezTo>
                    <a:pt x="8" y="127"/>
                    <a:pt x="0" y="95"/>
                    <a:pt x="32" y="83"/>
                  </a:cubicBezTo>
                  <a:cubicBezTo>
                    <a:pt x="48" y="55"/>
                    <a:pt x="56" y="55"/>
                    <a:pt x="88" y="47"/>
                  </a:cubicBezTo>
                  <a:cubicBezTo>
                    <a:pt x="136" y="11"/>
                    <a:pt x="12" y="43"/>
                    <a:pt x="152" y="15"/>
                  </a:cubicBezTo>
                  <a:cubicBezTo>
                    <a:pt x="160" y="15"/>
                    <a:pt x="189" y="0"/>
                    <a:pt x="181" y="0"/>
                  </a:cubicBezTo>
                  <a:close/>
                </a:path>
              </a:pathLst>
            </a:custGeom>
            <a:solidFill>
              <a:schemeClr val="bg1">
                <a:lumMod val="75000"/>
              </a:schemeClr>
            </a:solidFill>
            <a:ln w="3175" cap="flat" cmpd="sng">
              <a:solidFill>
                <a:sysClr val="window" lastClr="FFFFFF"/>
              </a:solidFill>
              <a:prstDash val="solid"/>
              <a:round/>
              <a:headEnd/>
              <a:tailEnd/>
            </a:ln>
            <a:effectLst/>
          </p:spPr>
          <p:txBody>
            <a:bodyPr wrap="none" lIns="0" tIns="0" rIns="0" bIns="0" anchor="ctr"/>
            <a:lstStyle/>
            <a:p>
              <a:pPr>
                <a:defRPr/>
              </a:pPr>
              <a:endParaRPr lang="fr-FR">
                <a:solidFill>
                  <a:prstClr val="black"/>
                </a:solidFill>
                <a:latin typeface="Arial"/>
              </a:endParaRPr>
            </a:p>
          </p:txBody>
        </p:sp>
        <p:sp>
          <p:nvSpPr>
            <p:cNvPr id="13" name="Freeform 108"/>
            <p:cNvSpPr>
              <a:spLocks noChangeAspect="1"/>
            </p:cNvSpPr>
            <p:nvPr>
              <p:custDataLst>
                <p:tags r:id="rId9"/>
              </p:custDataLst>
            </p:nvPr>
          </p:nvSpPr>
          <p:spPr bwMode="auto">
            <a:xfrm>
              <a:off x="2090744" y="4815178"/>
              <a:ext cx="82495" cy="110826"/>
            </a:xfrm>
            <a:custGeom>
              <a:avLst/>
              <a:gdLst/>
              <a:ahLst/>
              <a:cxnLst>
                <a:cxn ang="0">
                  <a:pos x="95" y="0"/>
                </a:cxn>
                <a:cxn ang="0">
                  <a:pos x="23" y="56"/>
                </a:cxn>
                <a:cxn ang="0">
                  <a:pos x="11" y="168"/>
                </a:cxn>
                <a:cxn ang="0">
                  <a:pos x="51" y="184"/>
                </a:cxn>
                <a:cxn ang="0">
                  <a:pos x="130" y="178"/>
                </a:cxn>
                <a:cxn ang="0">
                  <a:pos x="147" y="120"/>
                </a:cxn>
                <a:cxn ang="0">
                  <a:pos x="127" y="63"/>
                </a:cxn>
                <a:cxn ang="0">
                  <a:pos x="95" y="28"/>
                </a:cxn>
                <a:cxn ang="0">
                  <a:pos x="95" y="0"/>
                </a:cxn>
              </a:cxnLst>
              <a:rect l="0" t="0" r="r" b="b"/>
              <a:pathLst>
                <a:path w="153" h="200">
                  <a:moveTo>
                    <a:pt x="95" y="0"/>
                  </a:moveTo>
                  <a:cubicBezTo>
                    <a:pt x="0" y="3"/>
                    <a:pt x="71" y="24"/>
                    <a:pt x="23" y="56"/>
                  </a:cubicBezTo>
                  <a:cubicBezTo>
                    <a:pt x="15" y="96"/>
                    <a:pt x="15" y="116"/>
                    <a:pt x="11" y="168"/>
                  </a:cubicBezTo>
                  <a:cubicBezTo>
                    <a:pt x="22" y="186"/>
                    <a:pt x="33" y="181"/>
                    <a:pt x="51" y="184"/>
                  </a:cubicBezTo>
                  <a:cubicBezTo>
                    <a:pt x="63" y="200"/>
                    <a:pt x="111" y="171"/>
                    <a:pt x="130" y="178"/>
                  </a:cubicBezTo>
                  <a:cubicBezTo>
                    <a:pt x="125" y="160"/>
                    <a:pt x="132" y="150"/>
                    <a:pt x="147" y="120"/>
                  </a:cubicBezTo>
                  <a:cubicBezTo>
                    <a:pt x="153" y="88"/>
                    <a:pt x="151" y="79"/>
                    <a:pt x="127" y="63"/>
                  </a:cubicBezTo>
                  <a:cubicBezTo>
                    <a:pt x="105" y="42"/>
                    <a:pt x="115" y="48"/>
                    <a:pt x="95" y="28"/>
                  </a:cubicBezTo>
                  <a:cubicBezTo>
                    <a:pt x="91" y="8"/>
                    <a:pt x="91" y="16"/>
                    <a:pt x="95" y="0"/>
                  </a:cubicBezTo>
                  <a:close/>
                </a:path>
              </a:pathLst>
            </a:custGeom>
            <a:solidFill>
              <a:schemeClr val="bg1">
                <a:lumMod val="75000"/>
              </a:schemeClr>
            </a:solid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grpSp>
          <p:nvGrpSpPr>
            <p:cNvPr id="14" name="Group 109"/>
            <p:cNvGrpSpPr>
              <a:grpSpLocks/>
            </p:cNvGrpSpPr>
            <p:nvPr>
              <p:custDataLst>
                <p:tags r:id="rId10"/>
              </p:custDataLst>
            </p:nvPr>
          </p:nvGrpSpPr>
          <p:grpSpPr bwMode="auto">
            <a:xfrm>
              <a:off x="1882931" y="4264313"/>
              <a:ext cx="391227" cy="440732"/>
              <a:chOff x="1507" y="4979"/>
              <a:chExt cx="706" cy="796"/>
            </a:xfrm>
            <a:solidFill>
              <a:schemeClr val="bg1">
                <a:lumMod val="75000"/>
              </a:schemeClr>
            </a:solidFill>
          </p:grpSpPr>
          <p:sp>
            <p:nvSpPr>
              <p:cNvPr id="35" name="Freeform 110"/>
              <p:cNvSpPr>
                <a:spLocks noChangeAspect="1"/>
              </p:cNvSpPr>
              <p:nvPr/>
            </p:nvSpPr>
            <p:spPr bwMode="auto">
              <a:xfrm>
                <a:off x="1759" y="5075"/>
                <a:ext cx="56" cy="44"/>
              </a:xfrm>
              <a:custGeom>
                <a:avLst/>
                <a:gdLst/>
                <a:ahLst/>
                <a:cxnLst>
                  <a:cxn ang="0">
                    <a:pos x="5" y="0"/>
                  </a:cxn>
                  <a:cxn ang="0">
                    <a:pos x="9" y="7"/>
                  </a:cxn>
                  <a:cxn ang="0">
                    <a:pos x="3" y="11"/>
                  </a:cxn>
                  <a:cxn ang="0">
                    <a:pos x="5" y="0"/>
                  </a:cxn>
                </a:cxnLst>
                <a:rect l="0" t="0" r="r" b="b"/>
                <a:pathLst>
                  <a:path w="14" h="11">
                    <a:moveTo>
                      <a:pt x="5" y="0"/>
                    </a:moveTo>
                    <a:cubicBezTo>
                      <a:pt x="9" y="1"/>
                      <a:pt x="14" y="0"/>
                      <a:pt x="9" y="7"/>
                    </a:cubicBezTo>
                    <a:cubicBezTo>
                      <a:pt x="8" y="9"/>
                      <a:pt x="3" y="11"/>
                      <a:pt x="3" y="11"/>
                    </a:cubicBezTo>
                    <a:cubicBezTo>
                      <a:pt x="0" y="7"/>
                      <a:pt x="1" y="4"/>
                      <a:pt x="5" y="0"/>
                    </a:cubicBezTo>
                    <a:close/>
                  </a:path>
                </a:pathLst>
              </a:custGeom>
              <a:grpFill/>
              <a:ln w="3175" cap="flat" cmpd="sng">
                <a:solidFill>
                  <a:sysClr val="window" lastClr="FFFFFF"/>
                </a:solidFill>
                <a:prstDash val="solid"/>
                <a:round/>
                <a:headEnd/>
                <a:tailEnd/>
              </a:ln>
              <a:effectLst/>
            </p:spPr>
            <p:txBody>
              <a:bodyPr wrap="none" lIns="0" tIns="0" rIns="0" bIns="0" anchor="ctr"/>
              <a:lstStyle/>
              <a:p>
                <a:pPr>
                  <a:defRPr/>
                </a:pPr>
                <a:endParaRPr lang="fr-FR">
                  <a:solidFill>
                    <a:prstClr val="black"/>
                  </a:solidFill>
                  <a:latin typeface="Arial"/>
                </a:endParaRPr>
              </a:p>
            </p:txBody>
          </p:sp>
          <p:sp>
            <p:nvSpPr>
              <p:cNvPr id="36" name="Freeform 111"/>
              <p:cNvSpPr>
                <a:spLocks noChangeAspect="1"/>
              </p:cNvSpPr>
              <p:nvPr/>
            </p:nvSpPr>
            <p:spPr bwMode="auto">
              <a:xfrm>
                <a:off x="1803" y="5019"/>
                <a:ext cx="32" cy="68"/>
              </a:xfrm>
              <a:custGeom>
                <a:avLst/>
                <a:gdLst/>
                <a:ahLst/>
                <a:cxnLst>
                  <a:cxn ang="0">
                    <a:pos x="0" y="8"/>
                  </a:cxn>
                  <a:cxn ang="0">
                    <a:pos x="8" y="0"/>
                  </a:cxn>
                  <a:cxn ang="0">
                    <a:pos x="0" y="8"/>
                  </a:cxn>
                </a:cxnLst>
                <a:rect l="0" t="0" r="r" b="b"/>
                <a:pathLst>
                  <a:path w="8" h="17">
                    <a:moveTo>
                      <a:pt x="0" y="8"/>
                    </a:moveTo>
                    <a:cubicBezTo>
                      <a:pt x="5" y="6"/>
                      <a:pt x="4" y="4"/>
                      <a:pt x="8" y="0"/>
                    </a:cubicBezTo>
                    <a:cubicBezTo>
                      <a:pt x="8" y="2"/>
                      <a:pt x="0" y="17"/>
                      <a:pt x="0" y="8"/>
                    </a:cubicBezTo>
                    <a:close/>
                  </a:path>
                </a:pathLst>
              </a:custGeom>
              <a:grpFill/>
              <a:ln w="3175" cap="flat" cmpd="sng">
                <a:solidFill>
                  <a:sysClr val="window" lastClr="FFFFFF"/>
                </a:solidFill>
                <a:prstDash val="solid"/>
                <a:round/>
                <a:headEnd/>
                <a:tailEnd/>
              </a:ln>
              <a:effectLst/>
            </p:spPr>
            <p:txBody>
              <a:bodyPr wrap="none" lIns="0" tIns="0" rIns="0" bIns="0" anchor="ctr"/>
              <a:lstStyle/>
              <a:p>
                <a:pPr>
                  <a:defRPr/>
                </a:pPr>
                <a:endParaRPr lang="fr-FR">
                  <a:solidFill>
                    <a:prstClr val="black"/>
                  </a:solidFill>
                  <a:latin typeface="Arial"/>
                </a:endParaRPr>
              </a:p>
            </p:txBody>
          </p:sp>
          <p:sp>
            <p:nvSpPr>
              <p:cNvPr id="37" name="Freeform 112"/>
              <p:cNvSpPr>
                <a:spLocks noChangeAspect="1"/>
              </p:cNvSpPr>
              <p:nvPr/>
            </p:nvSpPr>
            <p:spPr bwMode="auto">
              <a:xfrm>
                <a:off x="1859" y="4991"/>
                <a:ext cx="48" cy="40"/>
              </a:xfrm>
              <a:custGeom>
                <a:avLst/>
                <a:gdLst/>
                <a:ahLst/>
                <a:cxnLst>
                  <a:cxn ang="0">
                    <a:pos x="0" y="3"/>
                  </a:cxn>
                  <a:cxn ang="0">
                    <a:pos x="12" y="2"/>
                  </a:cxn>
                  <a:cxn ang="0">
                    <a:pos x="0" y="3"/>
                  </a:cxn>
                </a:cxnLst>
                <a:rect l="0" t="0" r="r" b="b"/>
                <a:pathLst>
                  <a:path w="12" h="10">
                    <a:moveTo>
                      <a:pt x="0" y="3"/>
                    </a:moveTo>
                    <a:cubicBezTo>
                      <a:pt x="8" y="0"/>
                      <a:pt x="4" y="1"/>
                      <a:pt x="12" y="2"/>
                    </a:cubicBezTo>
                    <a:cubicBezTo>
                      <a:pt x="10" y="9"/>
                      <a:pt x="0" y="10"/>
                      <a:pt x="0" y="3"/>
                    </a:cubicBezTo>
                    <a:close/>
                  </a:path>
                </a:pathLst>
              </a:custGeom>
              <a:grpFill/>
              <a:ln w="3175" cap="flat" cmpd="sng">
                <a:solidFill>
                  <a:sysClr val="window" lastClr="FFFFFF"/>
                </a:solidFill>
                <a:prstDash val="solid"/>
                <a:round/>
                <a:headEnd/>
                <a:tailEnd/>
              </a:ln>
              <a:effectLst/>
            </p:spPr>
            <p:txBody>
              <a:bodyPr wrap="none" lIns="0" tIns="0" rIns="0" bIns="0" anchor="ctr"/>
              <a:lstStyle/>
              <a:p>
                <a:pPr>
                  <a:defRPr/>
                </a:pPr>
                <a:endParaRPr lang="fr-FR">
                  <a:solidFill>
                    <a:prstClr val="black"/>
                  </a:solidFill>
                  <a:latin typeface="Arial"/>
                </a:endParaRPr>
              </a:p>
            </p:txBody>
          </p:sp>
          <p:sp>
            <p:nvSpPr>
              <p:cNvPr id="38" name="Freeform 113"/>
              <p:cNvSpPr>
                <a:spLocks noChangeAspect="1"/>
              </p:cNvSpPr>
              <p:nvPr/>
            </p:nvSpPr>
            <p:spPr bwMode="auto">
              <a:xfrm>
                <a:off x="1919" y="4979"/>
                <a:ext cx="96" cy="28"/>
              </a:xfrm>
              <a:custGeom>
                <a:avLst/>
                <a:gdLst/>
                <a:ahLst/>
                <a:cxnLst>
                  <a:cxn ang="0">
                    <a:pos x="1" y="4"/>
                  </a:cxn>
                  <a:cxn ang="0">
                    <a:pos x="12" y="7"/>
                  </a:cxn>
                  <a:cxn ang="0">
                    <a:pos x="1" y="4"/>
                  </a:cxn>
                </a:cxnLst>
                <a:rect l="0" t="0" r="r" b="b"/>
                <a:pathLst>
                  <a:path w="24" h="7">
                    <a:moveTo>
                      <a:pt x="1" y="4"/>
                    </a:moveTo>
                    <a:cubicBezTo>
                      <a:pt x="22" y="3"/>
                      <a:pt x="24" y="3"/>
                      <a:pt x="12" y="7"/>
                    </a:cubicBezTo>
                    <a:cubicBezTo>
                      <a:pt x="6" y="6"/>
                      <a:pt x="0" y="0"/>
                      <a:pt x="1" y="4"/>
                    </a:cubicBezTo>
                    <a:close/>
                  </a:path>
                </a:pathLst>
              </a:custGeom>
              <a:grpFill/>
              <a:ln w="3175" cap="flat" cmpd="sng">
                <a:solidFill>
                  <a:sysClr val="window" lastClr="FFFFFF"/>
                </a:solidFill>
                <a:prstDash val="solid"/>
                <a:round/>
                <a:headEnd/>
                <a:tailEnd/>
              </a:ln>
              <a:effectLst/>
            </p:spPr>
            <p:txBody>
              <a:bodyPr wrap="none" lIns="0" tIns="0" rIns="0" bIns="0" anchor="ctr"/>
              <a:lstStyle/>
              <a:p>
                <a:pPr>
                  <a:defRPr/>
                </a:pPr>
                <a:endParaRPr lang="fr-FR">
                  <a:solidFill>
                    <a:prstClr val="black"/>
                  </a:solidFill>
                  <a:latin typeface="Arial"/>
                </a:endParaRPr>
              </a:p>
            </p:txBody>
          </p:sp>
          <p:sp>
            <p:nvSpPr>
              <p:cNvPr id="39" name="Freeform 114"/>
              <p:cNvSpPr>
                <a:spLocks noChangeAspect="1"/>
              </p:cNvSpPr>
              <p:nvPr/>
            </p:nvSpPr>
            <p:spPr bwMode="auto">
              <a:xfrm>
                <a:off x="1507" y="5019"/>
                <a:ext cx="706" cy="756"/>
              </a:xfrm>
              <a:custGeom>
                <a:avLst/>
                <a:gdLst/>
                <a:ahLst/>
                <a:cxnLst>
                  <a:cxn ang="0">
                    <a:pos x="694" y="39"/>
                  </a:cxn>
                  <a:cxn ang="0">
                    <a:pos x="624" y="0"/>
                  </a:cxn>
                  <a:cxn ang="0">
                    <a:pos x="508" y="12"/>
                  </a:cxn>
                  <a:cxn ang="0">
                    <a:pos x="432" y="28"/>
                  </a:cxn>
                  <a:cxn ang="0">
                    <a:pos x="376" y="60"/>
                  </a:cxn>
                  <a:cxn ang="0">
                    <a:pos x="328" y="92"/>
                  </a:cxn>
                  <a:cxn ang="0">
                    <a:pos x="304" y="100"/>
                  </a:cxn>
                  <a:cxn ang="0">
                    <a:pos x="244" y="156"/>
                  </a:cxn>
                  <a:cxn ang="0">
                    <a:pos x="364" y="240"/>
                  </a:cxn>
                  <a:cxn ang="0">
                    <a:pos x="324" y="272"/>
                  </a:cxn>
                  <a:cxn ang="0">
                    <a:pos x="220" y="268"/>
                  </a:cxn>
                  <a:cxn ang="0">
                    <a:pos x="168" y="316"/>
                  </a:cxn>
                  <a:cxn ang="0">
                    <a:pos x="112" y="392"/>
                  </a:cxn>
                  <a:cxn ang="0">
                    <a:pos x="76" y="420"/>
                  </a:cxn>
                  <a:cxn ang="0">
                    <a:pos x="12" y="504"/>
                  </a:cxn>
                  <a:cxn ang="0">
                    <a:pos x="36" y="560"/>
                  </a:cxn>
                  <a:cxn ang="0">
                    <a:pos x="76" y="580"/>
                  </a:cxn>
                  <a:cxn ang="0">
                    <a:pos x="196" y="536"/>
                  </a:cxn>
                  <a:cxn ang="0">
                    <a:pos x="300" y="564"/>
                  </a:cxn>
                  <a:cxn ang="0">
                    <a:pos x="364" y="612"/>
                  </a:cxn>
                  <a:cxn ang="0">
                    <a:pos x="400" y="628"/>
                  </a:cxn>
                  <a:cxn ang="0">
                    <a:pos x="424" y="644"/>
                  </a:cxn>
                  <a:cxn ang="0">
                    <a:pos x="392" y="704"/>
                  </a:cxn>
                  <a:cxn ang="0">
                    <a:pos x="408" y="756"/>
                  </a:cxn>
                  <a:cxn ang="0">
                    <a:pos x="464" y="732"/>
                  </a:cxn>
                  <a:cxn ang="0">
                    <a:pos x="460" y="720"/>
                  </a:cxn>
                  <a:cxn ang="0">
                    <a:pos x="440" y="692"/>
                  </a:cxn>
                  <a:cxn ang="0">
                    <a:pos x="466" y="669"/>
                  </a:cxn>
                  <a:cxn ang="0">
                    <a:pos x="484" y="624"/>
                  </a:cxn>
                  <a:cxn ang="0">
                    <a:pos x="496" y="588"/>
                  </a:cxn>
                  <a:cxn ang="0">
                    <a:pos x="484" y="524"/>
                  </a:cxn>
                  <a:cxn ang="0">
                    <a:pos x="482" y="471"/>
                  </a:cxn>
                  <a:cxn ang="0">
                    <a:pos x="464" y="474"/>
                  </a:cxn>
                  <a:cxn ang="0">
                    <a:pos x="529" y="452"/>
                  </a:cxn>
                  <a:cxn ang="0">
                    <a:pos x="610" y="431"/>
                  </a:cxn>
                  <a:cxn ang="0">
                    <a:pos x="616" y="371"/>
                  </a:cxn>
                  <a:cxn ang="0">
                    <a:pos x="652" y="356"/>
                  </a:cxn>
                  <a:cxn ang="0">
                    <a:pos x="625" y="273"/>
                  </a:cxn>
                  <a:cxn ang="0">
                    <a:pos x="593" y="231"/>
                  </a:cxn>
                  <a:cxn ang="0">
                    <a:pos x="628" y="215"/>
                  </a:cxn>
                  <a:cxn ang="0">
                    <a:pos x="646" y="242"/>
                  </a:cxn>
                  <a:cxn ang="0">
                    <a:pos x="665" y="197"/>
                  </a:cxn>
                  <a:cxn ang="0">
                    <a:pos x="694" y="39"/>
                  </a:cxn>
                </a:cxnLst>
                <a:rect l="0" t="0" r="r" b="b"/>
                <a:pathLst>
                  <a:path w="706" h="756">
                    <a:moveTo>
                      <a:pt x="694" y="39"/>
                    </a:moveTo>
                    <a:cubicBezTo>
                      <a:pt x="682" y="7"/>
                      <a:pt x="652" y="20"/>
                      <a:pt x="624" y="0"/>
                    </a:cubicBezTo>
                    <a:cubicBezTo>
                      <a:pt x="584" y="4"/>
                      <a:pt x="548" y="8"/>
                      <a:pt x="508" y="12"/>
                    </a:cubicBezTo>
                    <a:cubicBezTo>
                      <a:pt x="480" y="20"/>
                      <a:pt x="460" y="24"/>
                      <a:pt x="432" y="28"/>
                    </a:cubicBezTo>
                    <a:cubicBezTo>
                      <a:pt x="412" y="36"/>
                      <a:pt x="376" y="60"/>
                      <a:pt x="376" y="60"/>
                    </a:cubicBezTo>
                    <a:cubicBezTo>
                      <a:pt x="364" y="76"/>
                      <a:pt x="344" y="80"/>
                      <a:pt x="328" y="92"/>
                    </a:cubicBezTo>
                    <a:cubicBezTo>
                      <a:pt x="320" y="96"/>
                      <a:pt x="304" y="100"/>
                      <a:pt x="304" y="100"/>
                    </a:cubicBezTo>
                    <a:cubicBezTo>
                      <a:pt x="284" y="124"/>
                      <a:pt x="268" y="140"/>
                      <a:pt x="244" y="156"/>
                    </a:cubicBezTo>
                    <a:cubicBezTo>
                      <a:pt x="252" y="228"/>
                      <a:pt x="300" y="228"/>
                      <a:pt x="364" y="240"/>
                    </a:cubicBezTo>
                    <a:cubicBezTo>
                      <a:pt x="356" y="260"/>
                      <a:pt x="340" y="268"/>
                      <a:pt x="324" y="272"/>
                    </a:cubicBezTo>
                    <a:cubicBezTo>
                      <a:pt x="280" y="268"/>
                      <a:pt x="264" y="264"/>
                      <a:pt x="220" y="268"/>
                    </a:cubicBezTo>
                    <a:cubicBezTo>
                      <a:pt x="200" y="276"/>
                      <a:pt x="176" y="296"/>
                      <a:pt x="168" y="316"/>
                    </a:cubicBezTo>
                    <a:cubicBezTo>
                      <a:pt x="164" y="332"/>
                      <a:pt x="132" y="384"/>
                      <a:pt x="112" y="392"/>
                    </a:cubicBezTo>
                    <a:cubicBezTo>
                      <a:pt x="104" y="408"/>
                      <a:pt x="92" y="412"/>
                      <a:pt x="76" y="420"/>
                    </a:cubicBezTo>
                    <a:cubicBezTo>
                      <a:pt x="68" y="440"/>
                      <a:pt x="32" y="496"/>
                      <a:pt x="12" y="504"/>
                    </a:cubicBezTo>
                    <a:cubicBezTo>
                      <a:pt x="0" y="540"/>
                      <a:pt x="12" y="544"/>
                      <a:pt x="36" y="560"/>
                    </a:cubicBezTo>
                    <a:cubicBezTo>
                      <a:pt x="44" y="580"/>
                      <a:pt x="56" y="576"/>
                      <a:pt x="76" y="580"/>
                    </a:cubicBezTo>
                    <a:cubicBezTo>
                      <a:pt x="128" y="572"/>
                      <a:pt x="148" y="540"/>
                      <a:pt x="196" y="536"/>
                    </a:cubicBezTo>
                    <a:cubicBezTo>
                      <a:pt x="228" y="548"/>
                      <a:pt x="264" y="556"/>
                      <a:pt x="300" y="564"/>
                    </a:cubicBezTo>
                    <a:cubicBezTo>
                      <a:pt x="312" y="600"/>
                      <a:pt x="324" y="608"/>
                      <a:pt x="364" y="612"/>
                    </a:cubicBezTo>
                    <a:cubicBezTo>
                      <a:pt x="376" y="620"/>
                      <a:pt x="388" y="620"/>
                      <a:pt x="400" y="628"/>
                    </a:cubicBezTo>
                    <a:cubicBezTo>
                      <a:pt x="408" y="632"/>
                      <a:pt x="424" y="644"/>
                      <a:pt x="424" y="644"/>
                    </a:cubicBezTo>
                    <a:cubicBezTo>
                      <a:pt x="416" y="668"/>
                      <a:pt x="412" y="688"/>
                      <a:pt x="392" y="704"/>
                    </a:cubicBezTo>
                    <a:cubicBezTo>
                      <a:pt x="384" y="728"/>
                      <a:pt x="380" y="748"/>
                      <a:pt x="408" y="756"/>
                    </a:cubicBezTo>
                    <a:cubicBezTo>
                      <a:pt x="436" y="752"/>
                      <a:pt x="452" y="756"/>
                      <a:pt x="464" y="732"/>
                    </a:cubicBezTo>
                    <a:cubicBezTo>
                      <a:pt x="464" y="728"/>
                      <a:pt x="464" y="724"/>
                      <a:pt x="460" y="720"/>
                    </a:cubicBezTo>
                    <a:cubicBezTo>
                      <a:pt x="456" y="713"/>
                      <a:pt x="439" y="700"/>
                      <a:pt x="440" y="692"/>
                    </a:cubicBezTo>
                    <a:cubicBezTo>
                      <a:pt x="452" y="683"/>
                      <a:pt x="454" y="681"/>
                      <a:pt x="466" y="669"/>
                    </a:cubicBezTo>
                    <a:cubicBezTo>
                      <a:pt x="470" y="653"/>
                      <a:pt x="481" y="645"/>
                      <a:pt x="484" y="624"/>
                    </a:cubicBezTo>
                    <a:cubicBezTo>
                      <a:pt x="488" y="612"/>
                      <a:pt x="490" y="597"/>
                      <a:pt x="496" y="588"/>
                    </a:cubicBezTo>
                    <a:cubicBezTo>
                      <a:pt x="497" y="570"/>
                      <a:pt x="486" y="543"/>
                      <a:pt x="484" y="524"/>
                    </a:cubicBezTo>
                    <a:cubicBezTo>
                      <a:pt x="482" y="505"/>
                      <a:pt x="485" y="479"/>
                      <a:pt x="482" y="471"/>
                    </a:cubicBezTo>
                    <a:cubicBezTo>
                      <a:pt x="479" y="463"/>
                      <a:pt x="456" y="477"/>
                      <a:pt x="464" y="474"/>
                    </a:cubicBezTo>
                    <a:cubicBezTo>
                      <a:pt x="473" y="440"/>
                      <a:pt x="485" y="453"/>
                      <a:pt x="529" y="452"/>
                    </a:cubicBezTo>
                    <a:cubicBezTo>
                      <a:pt x="569" y="446"/>
                      <a:pt x="583" y="443"/>
                      <a:pt x="610" y="431"/>
                    </a:cubicBezTo>
                    <a:cubicBezTo>
                      <a:pt x="622" y="395"/>
                      <a:pt x="577" y="395"/>
                      <a:pt x="616" y="371"/>
                    </a:cubicBezTo>
                    <a:cubicBezTo>
                      <a:pt x="628" y="363"/>
                      <a:pt x="640" y="368"/>
                      <a:pt x="652" y="356"/>
                    </a:cubicBezTo>
                    <a:cubicBezTo>
                      <a:pt x="685" y="318"/>
                      <a:pt x="654" y="255"/>
                      <a:pt x="625" y="273"/>
                    </a:cubicBezTo>
                    <a:cubicBezTo>
                      <a:pt x="603" y="263"/>
                      <a:pt x="593" y="241"/>
                      <a:pt x="593" y="231"/>
                    </a:cubicBezTo>
                    <a:cubicBezTo>
                      <a:pt x="593" y="221"/>
                      <a:pt x="619" y="213"/>
                      <a:pt x="628" y="215"/>
                    </a:cubicBezTo>
                    <a:cubicBezTo>
                      <a:pt x="638" y="230"/>
                      <a:pt x="634" y="230"/>
                      <a:pt x="646" y="242"/>
                    </a:cubicBezTo>
                    <a:cubicBezTo>
                      <a:pt x="653" y="239"/>
                      <a:pt x="657" y="231"/>
                      <a:pt x="665" y="197"/>
                    </a:cubicBezTo>
                    <a:cubicBezTo>
                      <a:pt x="673" y="163"/>
                      <a:pt x="706" y="167"/>
                      <a:pt x="694" y="39"/>
                    </a:cubicBezTo>
                    <a:close/>
                  </a:path>
                </a:pathLst>
              </a:custGeom>
              <a:grpFill/>
              <a:ln w="3175" cap="flat" cmpd="sng">
                <a:solidFill>
                  <a:sysClr val="window" lastClr="FFFFFF"/>
                </a:solidFill>
                <a:prstDash val="solid"/>
                <a:round/>
                <a:headEnd/>
                <a:tailEnd/>
              </a:ln>
              <a:effectLst/>
            </p:spPr>
            <p:txBody>
              <a:bodyPr wrap="none" lIns="0" tIns="0" rIns="0" bIns="0" anchor="ctr"/>
              <a:lstStyle/>
              <a:p>
                <a:pPr>
                  <a:defRPr/>
                </a:pPr>
                <a:endParaRPr lang="fr-FR">
                  <a:solidFill>
                    <a:prstClr val="black"/>
                  </a:solidFill>
                  <a:latin typeface="Arial"/>
                </a:endParaRPr>
              </a:p>
            </p:txBody>
          </p:sp>
        </p:grpSp>
        <p:grpSp>
          <p:nvGrpSpPr>
            <p:cNvPr id="15" name="Group 115"/>
            <p:cNvGrpSpPr>
              <a:grpSpLocks/>
            </p:cNvGrpSpPr>
            <p:nvPr>
              <p:custDataLst>
                <p:tags r:id="rId11"/>
              </p:custDataLst>
            </p:nvPr>
          </p:nvGrpSpPr>
          <p:grpSpPr bwMode="auto">
            <a:xfrm>
              <a:off x="855363" y="3029300"/>
              <a:ext cx="881445" cy="1647414"/>
              <a:chOff x="-347" y="2747"/>
              <a:chExt cx="1590" cy="2976"/>
            </a:xfrm>
            <a:solidFill>
              <a:schemeClr val="bg1">
                <a:lumMod val="75000"/>
              </a:schemeClr>
            </a:solidFill>
          </p:grpSpPr>
          <p:sp>
            <p:nvSpPr>
              <p:cNvPr id="24" name="Freeform 116"/>
              <p:cNvSpPr>
                <a:spLocks noChangeAspect="1"/>
              </p:cNvSpPr>
              <p:nvPr/>
            </p:nvSpPr>
            <p:spPr bwMode="auto">
              <a:xfrm>
                <a:off x="1007" y="2747"/>
                <a:ext cx="144" cy="288"/>
              </a:xfrm>
              <a:custGeom>
                <a:avLst/>
                <a:gdLst/>
                <a:ahLst/>
                <a:cxnLst>
                  <a:cxn ang="0">
                    <a:pos x="32" y="4"/>
                  </a:cxn>
                  <a:cxn ang="0">
                    <a:pos x="20" y="11"/>
                  </a:cxn>
                  <a:cxn ang="0">
                    <a:pos x="7" y="22"/>
                  </a:cxn>
                  <a:cxn ang="0">
                    <a:pos x="3" y="28"/>
                  </a:cxn>
                  <a:cxn ang="0">
                    <a:pos x="0" y="43"/>
                  </a:cxn>
                  <a:cxn ang="0">
                    <a:pos x="7" y="72"/>
                  </a:cxn>
                  <a:cxn ang="0">
                    <a:pos x="17" y="63"/>
                  </a:cxn>
                  <a:cxn ang="0">
                    <a:pos x="21" y="54"/>
                  </a:cxn>
                  <a:cxn ang="0">
                    <a:pos x="30" y="23"/>
                  </a:cxn>
                  <a:cxn ang="0">
                    <a:pos x="36" y="9"/>
                  </a:cxn>
                  <a:cxn ang="0">
                    <a:pos x="26" y="11"/>
                  </a:cxn>
                  <a:cxn ang="0">
                    <a:pos x="32" y="4"/>
                  </a:cxn>
                </a:cxnLst>
                <a:rect l="0" t="0" r="r" b="b"/>
                <a:pathLst>
                  <a:path w="36" h="72">
                    <a:moveTo>
                      <a:pt x="32" y="4"/>
                    </a:moveTo>
                    <a:cubicBezTo>
                      <a:pt x="24" y="5"/>
                      <a:pt x="26" y="8"/>
                      <a:pt x="20" y="11"/>
                    </a:cubicBezTo>
                    <a:cubicBezTo>
                      <a:pt x="16" y="16"/>
                      <a:pt x="11" y="17"/>
                      <a:pt x="7" y="22"/>
                    </a:cubicBezTo>
                    <a:cubicBezTo>
                      <a:pt x="5" y="24"/>
                      <a:pt x="3" y="28"/>
                      <a:pt x="3" y="28"/>
                    </a:cubicBezTo>
                    <a:cubicBezTo>
                      <a:pt x="2" y="33"/>
                      <a:pt x="2" y="38"/>
                      <a:pt x="0" y="43"/>
                    </a:cubicBezTo>
                    <a:cubicBezTo>
                      <a:pt x="2" y="53"/>
                      <a:pt x="1" y="63"/>
                      <a:pt x="7" y="72"/>
                    </a:cubicBezTo>
                    <a:cubicBezTo>
                      <a:pt x="10" y="68"/>
                      <a:pt x="12" y="66"/>
                      <a:pt x="17" y="63"/>
                    </a:cubicBezTo>
                    <a:cubicBezTo>
                      <a:pt x="18" y="60"/>
                      <a:pt x="20" y="57"/>
                      <a:pt x="21" y="54"/>
                    </a:cubicBezTo>
                    <a:cubicBezTo>
                      <a:pt x="22" y="42"/>
                      <a:pt x="20" y="30"/>
                      <a:pt x="30" y="23"/>
                    </a:cubicBezTo>
                    <a:cubicBezTo>
                      <a:pt x="32" y="19"/>
                      <a:pt x="34" y="14"/>
                      <a:pt x="36" y="9"/>
                    </a:cubicBezTo>
                    <a:cubicBezTo>
                      <a:pt x="33" y="0"/>
                      <a:pt x="30" y="7"/>
                      <a:pt x="26" y="11"/>
                    </a:cubicBezTo>
                    <a:lnTo>
                      <a:pt x="32" y="4"/>
                    </a:ln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sp>
            <p:nvSpPr>
              <p:cNvPr id="25" name="Freeform 117"/>
              <p:cNvSpPr>
                <a:spLocks noChangeAspect="1"/>
              </p:cNvSpPr>
              <p:nvPr/>
            </p:nvSpPr>
            <p:spPr bwMode="auto">
              <a:xfrm>
                <a:off x="715" y="3135"/>
                <a:ext cx="120" cy="132"/>
              </a:xfrm>
              <a:custGeom>
                <a:avLst/>
                <a:gdLst/>
                <a:ahLst/>
                <a:cxnLst>
                  <a:cxn ang="0">
                    <a:pos x="16" y="0"/>
                  </a:cxn>
                  <a:cxn ang="0">
                    <a:pos x="3" y="9"/>
                  </a:cxn>
                  <a:cxn ang="0">
                    <a:pos x="0" y="21"/>
                  </a:cxn>
                  <a:cxn ang="0">
                    <a:pos x="10" y="33"/>
                  </a:cxn>
                  <a:cxn ang="0">
                    <a:pos x="25" y="26"/>
                  </a:cxn>
                  <a:cxn ang="0">
                    <a:pos x="30" y="12"/>
                  </a:cxn>
                  <a:cxn ang="0">
                    <a:pos x="16" y="0"/>
                  </a:cxn>
                </a:cxnLst>
                <a:rect l="0" t="0" r="r" b="b"/>
                <a:pathLst>
                  <a:path w="30" h="33">
                    <a:moveTo>
                      <a:pt x="16" y="0"/>
                    </a:moveTo>
                    <a:cubicBezTo>
                      <a:pt x="7" y="3"/>
                      <a:pt x="9" y="3"/>
                      <a:pt x="3" y="9"/>
                    </a:cubicBezTo>
                    <a:cubicBezTo>
                      <a:pt x="0" y="17"/>
                      <a:pt x="1" y="13"/>
                      <a:pt x="0" y="21"/>
                    </a:cubicBezTo>
                    <a:cubicBezTo>
                      <a:pt x="1" y="29"/>
                      <a:pt x="3" y="31"/>
                      <a:pt x="10" y="33"/>
                    </a:cubicBezTo>
                    <a:cubicBezTo>
                      <a:pt x="25" y="32"/>
                      <a:pt x="18" y="33"/>
                      <a:pt x="25" y="26"/>
                    </a:cubicBezTo>
                    <a:cubicBezTo>
                      <a:pt x="26" y="20"/>
                      <a:pt x="27" y="17"/>
                      <a:pt x="30" y="12"/>
                    </a:cubicBezTo>
                    <a:cubicBezTo>
                      <a:pt x="27" y="0"/>
                      <a:pt x="24" y="5"/>
                      <a:pt x="16" y="0"/>
                    </a:cubicBez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sp>
            <p:nvSpPr>
              <p:cNvPr id="26" name="Freeform 118"/>
              <p:cNvSpPr>
                <a:spLocks noChangeAspect="1"/>
              </p:cNvSpPr>
              <p:nvPr/>
            </p:nvSpPr>
            <p:spPr bwMode="auto">
              <a:xfrm>
                <a:off x="-88" y="3271"/>
                <a:ext cx="340" cy="432"/>
              </a:xfrm>
              <a:custGeom>
                <a:avLst/>
                <a:gdLst/>
                <a:ahLst/>
                <a:cxnLst>
                  <a:cxn ang="0">
                    <a:pos x="81" y="0"/>
                  </a:cxn>
                  <a:cxn ang="0">
                    <a:pos x="45" y="7"/>
                  </a:cxn>
                  <a:cxn ang="0">
                    <a:pos x="36" y="42"/>
                  </a:cxn>
                  <a:cxn ang="0">
                    <a:pos x="21" y="55"/>
                  </a:cxn>
                  <a:cxn ang="0">
                    <a:pos x="6" y="90"/>
                  </a:cxn>
                  <a:cxn ang="0">
                    <a:pos x="0" y="103"/>
                  </a:cxn>
                  <a:cxn ang="0">
                    <a:pos x="7" y="108"/>
                  </a:cxn>
                  <a:cxn ang="0">
                    <a:pos x="23" y="82"/>
                  </a:cxn>
                  <a:cxn ang="0">
                    <a:pos x="34" y="64"/>
                  </a:cxn>
                  <a:cxn ang="0">
                    <a:pos x="40" y="55"/>
                  </a:cxn>
                  <a:cxn ang="0">
                    <a:pos x="58" y="48"/>
                  </a:cxn>
                  <a:cxn ang="0">
                    <a:pos x="69" y="40"/>
                  </a:cxn>
                  <a:cxn ang="0">
                    <a:pos x="81" y="22"/>
                  </a:cxn>
                  <a:cxn ang="0">
                    <a:pos x="84" y="10"/>
                  </a:cxn>
                  <a:cxn ang="0">
                    <a:pos x="81" y="0"/>
                  </a:cxn>
                </a:cxnLst>
                <a:rect l="0" t="0" r="r" b="b"/>
                <a:pathLst>
                  <a:path w="85" h="108">
                    <a:moveTo>
                      <a:pt x="81" y="0"/>
                    </a:moveTo>
                    <a:cubicBezTo>
                      <a:pt x="69" y="1"/>
                      <a:pt x="55" y="0"/>
                      <a:pt x="45" y="7"/>
                    </a:cubicBezTo>
                    <a:cubicBezTo>
                      <a:pt x="38" y="18"/>
                      <a:pt x="41" y="31"/>
                      <a:pt x="36" y="42"/>
                    </a:cubicBezTo>
                    <a:cubicBezTo>
                      <a:pt x="33" y="48"/>
                      <a:pt x="26" y="52"/>
                      <a:pt x="21" y="55"/>
                    </a:cubicBezTo>
                    <a:cubicBezTo>
                      <a:pt x="14" y="65"/>
                      <a:pt x="17" y="83"/>
                      <a:pt x="6" y="90"/>
                    </a:cubicBezTo>
                    <a:cubicBezTo>
                      <a:pt x="5" y="96"/>
                      <a:pt x="4" y="99"/>
                      <a:pt x="0" y="103"/>
                    </a:cubicBezTo>
                    <a:cubicBezTo>
                      <a:pt x="1" y="106"/>
                      <a:pt x="7" y="108"/>
                      <a:pt x="7" y="108"/>
                    </a:cubicBezTo>
                    <a:cubicBezTo>
                      <a:pt x="12" y="99"/>
                      <a:pt x="15" y="88"/>
                      <a:pt x="23" y="82"/>
                    </a:cubicBezTo>
                    <a:cubicBezTo>
                      <a:pt x="25" y="77"/>
                      <a:pt x="30" y="68"/>
                      <a:pt x="34" y="64"/>
                    </a:cubicBezTo>
                    <a:cubicBezTo>
                      <a:pt x="35" y="60"/>
                      <a:pt x="35" y="57"/>
                      <a:pt x="40" y="55"/>
                    </a:cubicBezTo>
                    <a:cubicBezTo>
                      <a:pt x="45" y="50"/>
                      <a:pt x="51" y="49"/>
                      <a:pt x="58" y="48"/>
                    </a:cubicBezTo>
                    <a:cubicBezTo>
                      <a:pt x="61" y="46"/>
                      <a:pt x="66" y="41"/>
                      <a:pt x="69" y="40"/>
                    </a:cubicBezTo>
                    <a:cubicBezTo>
                      <a:pt x="72" y="34"/>
                      <a:pt x="77" y="26"/>
                      <a:pt x="81" y="22"/>
                    </a:cubicBezTo>
                    <a:cubicBezTo>
                      <a:pt x="82" y="18"/>
                      <a:pt x="83" y="14"/>
                      <a:pt x="84" y="10"/>
                    </a:cubicBezTo>
                    <a:cubicBezTo>
                      <a:pt x="83" y="1"/>
                      <a:pt x="85" y="4"/>
                      <a:pt x="81" y="0"/>
                    </a:cubicBez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sp>
            <p:nvSpPr>
              <p:cNvPr id="27" name="Freeform 119"/>
              <p:cNvSpPr>
                <a:spLocks noChangeAspect="1"/>
              </p:cNvSpPr>
              <p:nvPr/>
            </p:nvSpPr>
            <p:spPr bwMode="auto">
              <a:xfrm>
                <a:off x="76" y="3503"/>
                <a:ext cx="176" cy="200"/>
              </a:xfrm>
              <a:custGeom>
                <a:avLst/>
                <a:gdLst/>
                <a:ahLst/>
                <a:cxnLst>
                  <a:cxn ang="0">
                    <a:pos x="23" y="0"/>
                  </a:cxn>
                  <a:cxn ang="0">
                    <a:pos x="41" y="31"/>
                  </a:cxn>
                  <a:cxn ang="0">
                    <a:pos x="31" y="46"/>
                  </a:cxn>
                  <a:cxn ang="0">
                    <a:pos x="25" y="49"/>
                  </a:cxn>
                  <a:cxn ang="0">
                    <a:pos x="16" y="30"/>
                  </a:cxn>
                  <a:cxn ang="0">
                    <a:pos x="4" y="18"/>
                  </a:cxn>
                  <a:cxn ang="0">
                    <a:pos x="12" y="7"/>
                  </a:cxn>
                  <a:cxn ang="0">
                    <a:pos x="17" y="8"/>
                  </a:cxn>
                  <a:cxn ang="0">
                    <a:pos x="19" y="12"/>
                  </a:cxn>
                  <a:cxn ang="0">
                    <a:pos x="23" y="0"/>
                  </a:cxn>
                </a:cxnLst>
                <a:rect l="0" t="0" r="r" b="b"/>
                <a:pathLst>
                  <a:path w="44" h="50">
                    <a:moveTo>
                      <a:pt x="23" y="0"/>
                    </a:moveTo>
                    <a:cubicBezTo>
                      <a:pt x="38" y="10"/>
                      <a:pt x="20" y="24"/>
                      <a:pt x="41" y="31"/>
                    </a:cubicBezTo>
                    <a:cubicBezTo>
                      <a:pt x="44" y="39"/>
                      <a:pt x="38" y="45"/>
                      <a:pt x="31" y="46"/>
                    </a:cubicBezTo>
                    <a:cubicBezTo>
                      <a:pt x="30" y="46"/>
                      <a:pt x="26" y="50"/>
                      <a:pt x="25" y="49"/>
                    </a:cubicBezTo>
                    <a:cubicBezTo>
                      <a:pt x="18" y="46"/>
                      <a:pt x="19" y="35"/>
                      <a:pt x="16" y="30"/>
                    </a:cubicBezTo>
                    <a:cubicBezTo>
                      <a:pt x="11" y="22"/>
                      <a:pt x="11" y="22"/>
                      <a:pt x="4" y="18"/>
                    </a:cubicBezTo>
                    <a:cubicBezTo>
                      <a:pt x="0" y="10"/>
                      <a:pt x="4" y="9"/>
                      <a:pt x="12" y="7"/>
                    </a:cubicBezTo>
                    <a:cubicBezTo>
                      <a:pt x="14" y="7"/>
                      <a:pt x="16" y="7"/>
                      <a:pt x="17" y="8"/>
                    </a:cubicBezTo>
                    <a:cubicBezTo>
                      <a:pt x="18" y="9"/>
                      <a:pt x="19" y="12"/>
                      <a:pt x="19" y="12"/>
                    </a:cubicBezTo>
                    <a:lnTo>
                      <a:pt x="23" y="0"/>
                    </a:ln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sp>
            <p:nvSpPr>
              <p:cNvPr id="28" name="Freeform 120"/>
              <p:cNvSpPr>
                <a:spLocks noChangeAspect="1"/>
              </p:cNvSpPr>
              <p:nvPr/>
            </p:nvSpPr>
            <p:spPr bwMode="auto">
              <a:xfrm>
                <a:off x="12" y="3987"/>
                <a:ext cx="108" cy="128"/>
              </a:xfrm>
              <a:custGeom>
                <a:avLst/>
                <a:gdLst/>
                <a:ahLst/>
                <a:cxnLst>
                  <a:cxn ang="0">
                    <a:pos x="8" y="7"/>
                  </a:cxn>
                  <a:cxn ang="0">
                    <a:pos x="8" y="23"/>
                  </a:cxn>
                  <a:cxn ang="0">
                    <a:pos x="10" y="26"/>
                  </a:cxn>
                  <a:cxn ang="0">
                    <a:pos x="9" y="30"/>
                  </a:cxn>
                  <a:cxn ang="0">
                    <a:pos x="6" y="32"/>
                  </a:cxn>
                  <a:cxn ang="0">
                    <a:pos x="17" y="31"/>
                  </a:cxn>
                  <a:cxn ang="0">
                    <a:pos x="27" y="12"/>
                  </a:cxn>
                  <a:cxn ang="0">
                    <a:pos x="8" y="7"/>
                  </a:cxn>
                </a:cxnLst>
                <a:rect l="0" t="0" r="r" b="b"/>
                <a:pathLst>
                  <a:path w="27" h="32">
                    <a:moveTo>
                      <a:pt x="8" y="7"/>
                    </a:moveTo>
                    <a:cubicBezTo>
                      <a:pt x="0" y="11"/>
                      <a:pt x="1" y="18"/>
                      <a:pt x="8" y="23"/>
                    </a:cubicBezTo>
                    <a:cubicBezTo>
                      <a:pt x="9" y="24"/>
                      <a:pt x="10" y="25"/>
                      <a:pt x="10" y="26"/>
                    </a:cubicBezTo>
                    <a:cubicBezTo>
                      <a:pt x="10" y="27"/>
                      <a:pt x="10" y="29"/>
                      <a:pt x="9" y="30"/>
                    </a:cubicBezTo>
                    <a:cubicBezTo>
                      <a:pt x="8" y="31"/>
                      <a:pt x="5" y="32"/>
                      <a:pt x="6" y="32"/>
                    </a:cubicBezTo>
                    <a:cubicBezTo>
                      <a:pt x="10" y="32"/>
                      <a:pt x="13" y="31"/>
                      <a:pt x="17" y="31"/>
                    </a:cubicBezTo>
                    <a:cubicBezTo>
                      <a:pt x="25" y="25"/>
                      <a:pt x="16" y="19"/>
                      <a:pt x="27" y="12"/>
                    </a:cubicBezTo>
                    <a:cubicBezTo>
                      <a:pt x="24" y="0"/>
                      <a:pt x="0" y="18"/>
                      <a:pt x="8" y="7"/>
                    </a:cubicBez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sp>
            <p:nvSpPr>
              <p:cNvPr id="29" name="Freeform 121"/>
              <p:cNvSpPr>
                <a:spLocks noChangeAspect="1"/>
              </p:cNvSpPr>
              <p:nvPr/>
            </p:nvSpPr>
            <p:spPr bwMode="auto">
              <a:xfrm>
                <a:off x="172" y="4495"/>
                <a:ext cx="128" cy="100"/>
              </a:xfrm>
              <a:custGeom>
                <a:avLst/>
                <a:gdLst/>
                <a:ahLst/>
                <a:cxnLst>
                  <a:cxn ang="0">
                    <a:pos x="19" y="0"/>
                  </a:cxn>
                  <a:cxn ang="0">
                    <a:pos x="13" y="10"/>
                  </a:cxn>
                  <a:cxn ang="0">
                    <a:pos x="7" y="14"/>
                  </a:cxn>
                  <a:cxn ang="0">
                    <a:pos x="0" y="23"/>
                  </a:cxn>
                  <a:cxn ang="0">
                    <a:pos x="19" y="24"/>
                  </a:cxn>
                  <a:cxn ang="0">
                    <a:pos x="28" y="18"/>
                  </a:cxn>
                  <a:cxn ang="0">
                    <a:pos x="23" y="1"/>
                  </a:cxn>
                  <a:cxn ang="0">
                    <a:pos x="19" y="0"/>
                  </a:cxn>
                </a:cxnLst>
                <a:rect l="0" t="0" r="r" b="b"/>
                <a:pathLst>
                  <a:path w="32" h="25">
                    <a:moveTo>
                      <a:pt x="19" y="0"/>
                    </a:moveTo>
                    <a:cubicBezTo>
                      <a:pt x="18" y="3"/>
                      <a:pt x="15" y="8"/>
                      <a:pt x="13" y="10"/>
                    </a:cubicBezTo>
                    <a:cubicBezTo>
                      <a:pt x="11" y="12"/>
                      <a:pt x="7" y="14"/>
                      <a:pt x="7" y="14"/>
                    </a:cubicBezTo>
                    <a:cubicBezTo>
                      <a:pt x="5" y="17"/>
                      <a:pt x="2" y="20"/>
                      <a:pt x="0" y="23"/>
                    </a:cubicBezTo>
                    <a:cubicBezTo>
                      <a:pt x="7" y="25"/>
                      <a:pt x="12" y="25"/>
                      <a:pt x="19" y="24"/>
                    </a:cubicBezTo>
                    <a:cubicBezTo>
                      <a:pt x="22" y="22"/>
                      <a:pt x="24" y="19"/>
                      <a:pt x="28" y="18"/>
                    </a:cubicBezTo>
                    <a:cubicBezTo>
                      <a:pt x="30" y="10"/>
                      <a:pt x="32" y="4"/>
                      <a:pt x="23" y="1"/>
                    </a:cubicBezTo>
                    <a:cubicBezTo>
                      <a:pt x="17" y="2"/>
                      <a:pt x="14" y="9"/>
                      <a:pt x="19" y="0"/>
                    </a:cubicBez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sp>
            <p:nvSpPr>
              <p:cNvPr id="30" name="Freeform 122"/>
              <p:cNvSpPr>
                <a:spLocks noChangeAspect="1"/>
              </p:cNvSpPr>
              <p:nvPr/>
            </p:nvSpPr>
            <p:spPr bwMode="auto">
              <a:xfrm>
                <a:off x="152" y="4783"/>
                <a:ext cx="112" cy="100"/>
              </a:xfrm>
              <a:custGeom>
                <a:avLst/>
                <a:gdLst/>
                <a:ahLst/>
                <a:cxnLst>
                  <a:cxn ang="0">
                    <a:pos x="11" y="0"/>
                  </a:cxn>
                  <a:cxn ang="0">
                    <a:pos x="28" y="10"/>
                  </a:cxn>
                  <a:cxn ang="0">
                    <a:pos x="16" y="17"/>
                  </a:cxn>
                  <a:cxn ang="0">
                    <a:pos x="3" y="12"/>
                  </a:cxn>
                  <a:cxn ang="0">
                    <a:pos x="9" y="4"/>
                  </a:cxn>
                  <a:cxn ang="0">
                    <a:pos x="11" y="0"/>
                  </a:cxn>
                </a:cxnLst>
                <a:rect l="0" t="0" r="r" b="b"/>
                <a:pathLst>
                  <a:path w="28" h="25">
                    <a:moveTo>
                      <a:pt x="11" y="0"/>
                    </a:moveTo>
                    <a:cubicBezTo>
                      <a:pt x="19" y="2"/>
                      <a:pt x="23" y="4"/>
                      <a:pt x="28" y="10"/>
                    </a:cubicBezTo>
                    <a:cubicBezTo>
                      <a:pt x="26" y="15"/>
                      <a:pt x="21" y="15"/>
                      <a:pt x="16" y="17"/>
                    </a:cubicBezTo>
                    <a:cubicBezTo>
                      <a:pt x="8" y="25"/>
                      <a:pt x="9" y="14"/>
                      <a:pt x="3" y="12"/>
                    </a:cubicBezTo>
                    <a:cubicBezTo>
                      <a:pt x="0" y="5"/>
                      <a:pt x="2" y="5"/>
                      <a:pt x="9" y="4"/>
                    </a:cubicBezTo>
                    <a:cubicBezTo>
                      <a:pt x="13" y="2"/>
                      <a:pt x="18" y="2"/>
                      <a:pt x="11" y="0"/>
                    </a:cubicBez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sp>
            <p:nvSpPr>
              <p:cNvPr id="31" name="Freeform 123"/>
              <p:cNvSpPr>
                <a:spLocks noChangeAspect="1"/>
              </p:cNvSpPr>
              <p:nvPr/>
            </p:nvSpPr>
            <p:spPr bwMode="auto">
              <a:xfrm>
                <a:off x="-236" y="3311"/>
                <a:ext cx="1479" cy="2412"/>
              </a:xfrm>
              <a:custGeom>
                <a:avLst/>
                <a:gdLst/>
                <a:ahLst/>
                <a:cxnLst>
                  <a:cxn ang="0">
                    <a:pos x="240" y="6"/>
                  </a:cxn>
                  <a:cxn ang="0">
                    <a:pos x="185" y="69"/>
                  </a:cxn>
                  <a:cxn ang="0">
                    <a:pos x="181" y="78"/>
                  </a:cxn>
                  <a:cxn ang="0">
                    <a:pos x="270" y="90"/>
                  </a:cxn>
                  <a:cxn ang="0">
                    <a:pos x="235" y="152"/>
                  </a:cxn>
                  <a:cxn ang="0">
                    <a:pos x="202" y="162"/>
                  </a:cxn>
                  <a:cxn ang="0">
                    <a:pos x="217" y="178"/>
                  </a:cxn>
                  <a:cxn ang="0">
                    <a:pos x="193" y="196"/>
                  </a:cxn>
                  <a:cxn ang="0">
                    <a:pos x="242" y="212"/>
                  </a:cxn>
                  <a:cxn ang="0">
                    <a:pos x="260" y="268"/>
                  </a:cxn>
                  <a:cxn ang="0">
                    <a:pos x="270" y="306"/>
                  </a:cxn>
                  <a:cxn ang="0">
                    <a:pos x="287" y="319"/>
                  </a:cxn>
                  <a:cxn ang="0">
                    <a:pos x="305" y="385"/>
                  </a:cxn>
                  <a:cxn ang="0">
                    <a:pos x="269" y="376"/>
                  </a:cxn>
                  <a:cxn ang="0">
                    <a:pos x="310" y="402"/>
                  </a:cxn>
                  <a:cxn ang="0">
                    <a:pos x="302" y="445"/>
                  </a:cxn>
                  <a:cxn ang="0">
                    <a:pos x="342" y="436"/>
                  </a:cxn>
                  <a:cxn ang="0">
                    <a:pos x="365" y="459"/>
                  </a:cxn>
                  <a:cxn ang="0">
                    <a:pos x="351" y="510"/>
                  </a:cxn>
                  <a:cxn ang="0">
                    <a:pos x="324" y="522"/>
                  </a:cxn>
                  <a:cxn ang="0">
                    <a:pos x="304" y="544"/>
                  </a:cxn>
                  <a:cxn ang="0">
                    <a:pos x="331" y="552"/>
                  </a:cxn>
                  <a:cxn ang="0">
                    <a:pos x="317" y="584"/>
                  </a:cxn>
                  <a:cxn ang="0">
                    <a:pos x="284" y="595"/>
                  </a:cxn>
                  <a:cxn ang="0">
                    <a:pos x="251" y="585"/>
                  </a:cxn>
                  <a:cxn ang="0">
                    <a:pos x="221" y="578"/>
                  </a:cxn>
                  <a:cxn ang="0">
                    <a:pos x="198" y="580"/>
                  </a:cxn>
                  <a:cxn ang="0">
                    <a:pos x="174" y="584"/>
                  </a:cxn>
                  <a:cxn ang="0">
                    <a:pos x="120" y="574"/>
                  </a:cxn>
                  <a:cxn ang="0">
                    <a:pos x="97" y="596"/>
                  </a:cxn>
                  <a:cxn ang="0">
                    <a:pos x="49" y="590"/>
                  </a:cxn>
                  <a:cxn ang="0">
                    <a:pos x="8" y="594"/>
                  </a:cxn>
                  <a:cxn ang="0">
                    <a:pos x="40" y="583"/>
                  </a:cxn>
                  <a:cxn ang="0">
                    <a:pos x="82" y="543"/>
                  </a:cxn>
                  <a:cxn ang="0">
                    <a:pos x="120" y="535"/>
                  </a:cxn>
                  <a:cxn ang="0">
                    <a:pos x="172" y="508"/>
                  </a:cxn>
                  <a:cxn ang="0">
                    <a:pos x="164" y="507"/>
                  </a:cxn>
                  <a:cxn ang="0">
                    <a:pos x="127" y="519"/>
                  </a:cxn>
                  <a:cxn ang="0">
                    <a:pos x="90" y="487"/>
                  </a:cxn>
                  <a:cxn ang="0">
                    <a:pos x="88" y="460"/>
                  </a:cxn>
                  <a:cxn ang="0">
                    <a:pos x="118" y="432"/>
                  </a:cxn>
                  <a:cxn ang="0">
                    <a:pos x="92" y="410"/>
                  </a:cxn>
                  <a:cxn ang="0">
                    <a:pos x="131" y="385"/>
                  </a:cxn>
                  <a:cxn ang="0">
                    <a:pos x="174" y="369"/>
                  </a:cxn>
                  <a:cxn ang="0">
                    <a:pos x="197" y="325"/>
                  </a:cxn>
                  <a:cxn ang="0">
                    <a:pos x="179" y="276"/>
                  </a:cxn>
                  <a:cxn ang="0">
                    <a:pos x="115" y="270"/>
                  </a:cxn>
                  <a:cxn ang="0">
                    <a:pos x="130" y="230"/>
                  </a:cxn>
                  <a:cxn ang="0">
                    <a:pos x="124" y="177"/>
                  </a:cxn>
                  <a:cxn ang="0">
                    <a:pos x="118" y="145"/>
                  </a:cxn>
                  <a:cxn ang="0">
                    <a:pos x="78" y="146"/>
                  </a:cxn>
                  <a:cxn ang="0">
                    <a:pos x="100" y="115"/>
                  </a:cxn>
                  <a:cxn ang="0">
                    <a:pos x="122" y="67"/>
                  </a:cxn>
                  <a:cxn ang="0">
                    <a:pos x="160" y="12"/>
                  </a:cxn>
                  <a:cxn ang="0">
                    <a:pos x="174" y="3"/>
                  </a:cxn>
                </a:cxnLst>
                <a:rect l="0" t="0" r="r" b="b"/>
                <a:pathLst>
                  <a:path w="370" h="603">
                    <a:moveTo>
                      <a:pt x="174" y="3"/>
                    </a:moveTo>
                    <a:cubicBezTo>
                      <a:pt x="184" y="2"/>
                      <a:pt x="190" y="6"/>
                      <a:pt x="199" y="7"/>
                    </a:cubicBezTo>
                    <a:cubicBezTo>
                      <a:pt x="217" y="6"/>
                      <a:pt x="224" y="4"/>
                      <a:pt x="240" y="6"/>
                    </a:cubicBezTo>
                    <a:cubicBezTo>
                      <a:pt x="237" y="29"/>
                      <a:pt x="221" y="37"/>
                      <a:pt x="199" y="40"/>
                    </a:cubicBezTo>
                    <a:cubicBezTo>
                      <a:pt x="193" y="44"/>
                      <a:pt x="192" y="44"/>
                      <a:pt x="190" y="51"/>
                    </a:cubicBezTo>
                    <a:cubicBezTo>
                      <a:pt x="192" y="60"/>
                      <a:pt x="193" y="64"/>
                      <a:pt x="185" y="69"/>
                    </a:cubicBezTo>
                    <a:cubicBezTo>
                      <a:pt x="183" y="75"/>
                      <a:pt x="182" y="78"/>
                      <a:pt x="176" y="79"/>
                    </a:cubicBezTo>
                    <a:cubicBezTo>
                      <a:pt x="173" y="80"/>
                      <a:pt x="165" y="82"/>
                      <a:pt x="168" y="81"/>
                    </a:cubicBezTo>
                    <a:cubicBezTo>
                      <a:pt x="172" y="80"/>
                      <a:pt x="177" y="79"/>
                      <a:pt x="181" y="78"/>
                    </a:cubicBezTo>
                    <a:cubicBezTo>
                      <a:pt x="188" y="73"/>
                      <a:pt x="195" y="75"/>
                      <a:pt x="204" y="74"/>
                    </a:cubicBezTo>
                    <a:cubicBezTo>
                      <a:pt x="224" y="70"/>
                      <a:pt x="243" y="79"/>
                      <a:pt x="263" y="82"/>
                    </a:cubicBezTo>
                    <a:cubicBezTo>
                      <a:pt x="268" y="85"/>
                      <a:pt x="269" y="83"/>
                      <a:pt x="270" y="90"/>
                    </a:cubicBezTo>
                    <a:cubicBezTo>
                      <a:pt x="269" y="97"/>
                      <a:pt x="272" y="104"/>
                      <a:pt x="265" y="106"/>
                    </a:cubicBezTo>
                    <a:cubicBezTo>
                      <a:pt x="260" y="114"/>
                      <a:pt x="254" y="126"/>
                      <a:pt x="248" y="132"/>
                    </a:cubicBezTo>
                    <a:cubicBezTo>
                      <a:pt x="245" y="141"/>
                      <a:pt x="243" y="146"/>
                      <a:pt x="235" y="152"/>
                    </a:cubicBezTo>
                    <a:cubicBezTo>
                      <a:pt x="233" y="157"/>
                      <a:pt x="230" y="161"/>
                      <a:pt x="227" y="165"/>
                    </a:cubicBezTo>
                    <a:cubicBezTo>
                      <a:pt x="222" y="164"/>
                      <a:pt x="217" y="163"/>
                      <a:pt x="212" y="160"/>
                    </a:cubicBezTo>
                    <a:cubicBezTo>
                      <a:pt x="209" y="161"/>
                      <a:pt x="205" y="160"/>
                      <a:pt x="202" y="162"/>
                    </a:cubicBezTo>
                    <a:cubicBezTo>
                      <a:pt x="202" y="162"/>
                      <a:pt x="208" y="165"/>
                      <a:pt x="212" y="166"/>
                    </a:cubicBezTo>
                    <a:cubicBezTo>
                      <a:pt x="217" y="168"/>
                      <a:pt x="222" y="169"/>
                      <a:pt x="226" y="172"/>
                    </a:cubicBezTo>
                    <a:cubicBezTo>
                      <a:pt x="223" y="175"/>
                      <a:pt x="221" y="177"/>
                      <a:pt x="217" y="178"/>
                    </a:cubicBezTo>
                    <a:cubicBezTo>
                      <a:pt x="212" y="185"/>
                      <a:pt x="201" y="183"/>
                      <a:pt x="194" y="184"/>
                    </a:cubicBezTo>
                    <a:cubicBezTo>
                      <a:pt x="191" y="186"/>
                      <a:pt x="188" y="187"/>
                      <a:pt x="184" y="188"/>
                    </a:cubicBezTo>
                    <a:cubicBezTo>
                      <a:pt x="180" y="195"/>
                      <a:pt x="187" y="194"/>
                      <a:pt x="193" y="196"/>
                    </a:cubicBezTo>
                    <a:cubicBezTo>
                      <a:pt x="205" y="195"/>
                      <a:pt x="206" y="189"/>
                      <a:pt x="216" y="192"/>
                    </a:cubicBezTo>
                    <a:cubicBezTo>
                      <a:pt x="219" y="194"/>
                      <a:pt x="230" y="198"/>
                      <a:pt x="233" y="200"/>
                    </a:cubicBezTo>
                    <a:cubicBezTo>
                      <a:pt x="236" y="204"/>
                      <a:pt x="238" y="209"/>
                      <a:pt x="242" y="212"/>
                    </a:cubicBezTo>
                    <a:cubicBezTo>
                      <a:pt x="243" y="216"/>
                      <a:pt x="241" y="221"/>
                      <a:pt x="245" y="224"/>
                    </a:cubicBezTo>
                    <a:cubicBezTo>
                      <a:pt x="248" y="235"/>
                      <a:pt x="243" y="233"/>
                      <a:pt x="254" y="237"/>
                    </a:cubicBezTo>
                    <a:cubicBezTo>
                      <a:pt x="253" y="242"/>
                      <a:pt x="262" y="263"/>
                      <a:pt x="260" y="268"/>
                    </a:cubicBezTo>
                    <a:cubicBezTo>
                      <a:pt x="259" y="270"/>
                      <a:pt x="258" y="274"/>
                      <a:pt x="258" y="274"/>
                    </a:cubicBezTo>
                    <a:cubicBezTo>
                      <a:pt x="259" y="296"/>
                      <a:pt x="255" y="289"/>
                      <a:pt x="266" y="296"/>
                    </a:cubicBezTo>
                    <a:cubicBezTo>
                      <a:pt x="269" y="302"/>
                      <a:pt x="268" y="299"/>
                      <a:pt x="270" y="306"/>
                    </a:cubicBezTo>
                    <a:cubicBezTo>
                      <a:pt x="271" y="308"/>
                      <a:pt x="272" y="312"/>
                      <a:pt x="272" y="312"/>
                    </a:cubicBezTo>
                    <a:cubicBezTo>
                      <a:pt x="275" y="310"/>
                      <a:pt x="289" y="311"/>
                      <a:pt x="270" y="315"/>
                    </a:cubicBezTo>
                    <a:cubicBezTo>
                      <a:pt x="272" y="316"/>
                      <a:pt x="283" y="316"/>
                      <a:pt x="287" y="319"/>
                    </a:cubicBezTo>
                    <a:cubicBezTo>
                      <a:pt x="290" y="311"/>
                      <a:pt x="278" y="330"/>
                      <a:pt x="296" y="333"/>
                    </a:cubicBezTo>
                    <a:cubicBezTo>
                      <a:pt x="300" y="339"/>
                      <a:pt x="303" y="345"/>
                      <a:pt x="305" y="352"/>
                    </a:cubicBezTo>
                    <a:cubicBezTo>
                      <a:pt x="304" y="364"/>
                      <a:pt x="301" y="372"/>
                      <a:pt x="305" y="385"/>
                    </a:cubicBezTo>
                    <a:cubicBezTo>
                      <a:pt x="298" y="387"/>
                      <a:pt x="299" y="379"/>
                      <a:pt x="294" y="376"/>
                    </a:cubicBezTo>
                    <a:cubicBezTo>
                      <a:pt x="289" y="373"/>
                      <a:pt x="281" y="374"/>
                      <a:pt x="275" y="372"/>
                    </a:cubicBezTo>
                    <a:cubicBezTo>
                      <a:pt x="275" y="372"/>
                      <a:pt x="267" y="373"/>
                      <a:pt x="269" y="376"/>
                    </a:cubicBezTo>
                    <a:cubicBezTo>
                      <a:pt x="271" y="380"/>
                      <a:pt x="284" y="386"/>
                      <a:pt x="288" y="387"/>
                    </a:cubicBezTo>
                    <a:cubicBezTo>
                      <a:pt x="291" y="389"/>
                      <a:pt x="299" y="392"/>
                      <a:pt x="299" y="392"/>
                    </a:cubicBezTo>
                    <a:cubicBezTo>
                      <a:pt x="302" y="396"/>
                      <a:pt x="306" y="398"/>
                      <a:pt x="310" y="402"/>
                    </a:cubicBezTo>
                    <a:cubicBezTo>
                      <a:pt x="312" y="409"/>
                      <a:pt x="315" y="419"/>
                      <a:pt x="308" y="424"/>
                    </a:cubicBezTo>
                    <a:cubicBezTo>
                      <a:pt x="305" y="428"/>
                      <a:pt x="302" y="429"/>
                      <a:pt x="301" y="434"/>
                    </a:cubicBezTo>
                    <a:cubicBezTo>
                      <a:pt x="301" y="438"/>
                      <a:pt x="301" y="442"/>
                      <a:pt x="302" y="445"/>
                    </a:cubicBezTo>
                    <a:cubicBezTo>
                      <a:pt x="303" y="448"/>
                      <a:pt x="311" y="444"/>
                      <a:pt x="311" y="444"/>
                    </a:cubicBezTo>
                    <a:cubicBezTo>
                      <a:pt x="314" y="440"/>
                      <a:pt x="315" y="440"/>
                      <a:pt x="320" y="439"/>
                    </a:cubicBezTo>
                    <a:cubicBezTo>
                      <a:pt x="338" y="440"/>
                      <a:pt x="332" y="431"/>
                      <a:pt x="342" y="436"/>
                    </a:cubicBezTo>
                    <a:cubicBezTo>
                      <a:pt x="345" y="438"/>
                      <a:pt x="354" y="440"/>
                      <a:pt x="354" y="440"/>
                    </a:cubicBezTo>
                    <a:cubicBezTo>
                      <a:pt x="357" y="443"/>
                      <a:pt x="360" y="450"/>
                      <a:pt x="364" y="451"/>
                    </a:cubicBezTo>
                    <a:cubicBezTo>
                      <a:pt x="366" y="453"/>
                      <a:pt x="364" y="457"/>
                      <a:pt x="365" y="459"/>
                    </a:cubicBezTo>
                    <a:cubicBezTo>
                      <a:pt x="366" y="461"/>
                      <a:pt x="367" y="465"/>
                      <a:pt x="367" y="465"/>
                    </a:cubicBezTo>
                    <a:cubicBezTo>
                      <a:pt x="368" y="475"/>
                      <a:pt x="370" y="488"/>
                      <a:pt x="361" y="494"/>
                    </a:cubicBezTo>
                    <a:cubicBezTo>
                      <a:pt x="358" y="501"/>
                      <a:pt x="354" y="505"/>
                      <a:pt x="351" y="510"/>
                    </a:cubicBezTo>
                    <a:cubicBezTo>
                      <a:pt x="347" y="512"/>
                      <a:pt x="338" y="506"/>
                      <a:pt x="336" y="508"/>
                    </a:cubicBezTo>
                    <a:cubicBezTo>
                      <a:pt x="334" y="510"/>
                      <a:pt x="343" y="520"/>
                      <a:pt x="341" y="522"/>
                    </a:cubicBezTo>
                    <a:cubicBezTo>
                      <a:pt x="340" y="525"/>
                      <a:pt x="327" y="521"/>
                      <a:pt x="324" y="522"/>
                    </a:cubicBezTo>
                    <a:cubicBezTo>
                      <a:pt x="321" y="523"/>
                      <a:pt x="327" y="527"/>
                      <a:pt x="325" y="530"/>
                    </a:cubicBezTo>
                    <a:cubicBezTo>
                      <a:pt x="323" y="533"/>
                      <a:pt x="315" y="536"/>
                      <a:pt x="311" y="538"/>
                    </a:cubicBezTo>
                    <a:cubicBezTo>
                      <a:pt x="310" y="541"/>
                      <a:pt x="304" y="544"/>
                      <a:pt x="304" y="544"/>
                    </a:cubicBezTo>
                    <a:cubicBezTo>
                      <a:pt x="307" y="552"/>
                      <a:pt x="307" y="552"/>
                      <a:pt x="316" y="553"/>
                    </a:cubicBezTo>
                    <a:cubicBezTo>
                      <a:pt x="320" y="552"/>
                      <a:pt x="324" y="549"/>
                      <a:pt x="328" y="549"/>
                    </a:cubicBezTo>
                    <a:cubicBezTo>
                      <a:pt x="329" y="549"/>
                      <a:pt x="330" y="551"/>
                      <a:pt x="331" y="552"/>
                    </a:cubicBezTo>
                    <a:cubicBezTo>
                      <a:pt x="335" y="554"/>
                      <a:pt x="340" y="554"/>
                      <a:pt x="344" y="554"/>
                    </a:cubicBezTo>
                    <a:cubicBezTo>
                      <a:pt x="343" y="561"/>
                      <a:pt x="343" y="568"/>
                      <a:pt x="338" y="573"/>
                    </a:cubicBezTo>
                    <a:cubicBezTo>
                      <a:pt x="335" y="582"/>
                      <a:pt x="325" y="583"/>
                      <a:pt x="317" y="584"/>
                    </a:cubicBezTo>
                    <a:cubicBezTo>
                      <a:pt x="311" y="586"/>
                      <a:pt x="305" y="588"/>
                      <a:pt x="300" y="591"/>
                    </a:cubicBezTo>
                    <a:cubicBezTo>
                      <a:pt x="297" y="593"/>
                      <a:pt x="290" y="596"/>
                      <a:pt x="290" y="596"/>
                    </a:cubicBezTo>
                    <a:cubicBezTo>
                      <a:pt x="288" y="596"/>
                      <a:pt x="286" y="596"/>
                      <a:pt x="284" y="595"/>
                    </a:cubicBezTo>
                    <a:cubicBezTo>
                      <a:pt x="283" y="594"/>
                      <a:pt x="284" y="593"/>
                      <a:pt x="283" y="592"/>
                    </a:cubicBezTo>
                    <a:cubicBezTo>
                      <a:pt x="281" y="591"/>
                      <a:pt x="277" y="590"/>
                      <a:pt x="277" y="590"/>
                    </a:cubicBezTo>
                    <a:cubicBezTo>
                      <a:pt x="272" y="589"/>
                      <a:pt x="256" y="586"/>
                      <a:pt x="251" y="585"/>
                    </a:cubicBezTo>
                    <a:cubicBezTo>
                      <a:pt x="249" y="584"/>
                      <a:pt x="245" y="583"/>
                      <a:pt x="245" y="583"/>
                    </a:cubicBezTo>
                    <a:cubicBezTo>
                      <a:pt x="235" y="585"/>
                      <a:pt x="228" y="580"/>
                      <a:pt x="218" y="579"/>
                    </a:cubicBezTo>
                    <a:cubicBezTo>
                      <a:pt x="219" y="579"/>
                      <a:pt x="220" y="577"/>
                      <a:pt x="221" y="578"/>
                    </a:cubicBezTo>
                    <a:cubicBezTo>
                      <a:pt x="222" y="579"/>
                      <a:pt x="221" y="582"/>
                      <a:pt x="220" y="582"/>
                    </a:cubicBezTo>
                    <a:cubicBezTo>
                      <a:pt x="215" y="582"/>
                      <a:pt x="206" y="579"/>
                      <a:pt x="206" y="579"/>
                    </a:cubicBezTo>
                    <a:cubicBezTo>
                      <a:pt x="201" y="581"/>
                      <a:pt x="201" y="585"/>
                      <a:pt x="198" y="580"/>
                    </a:cubicBezTo>
                    <a:cubicBezTo>
                      <a:pt x="196" y="580"/>
                      <a:pt x="195" y="580"/>
                      <a:pt x="193" y="580"/>
                    </a:cubicBezTo>
                    <a:cubicBezTo>
                      <a:pt x="195" y="579"/>
                      <a:pt x="189" y="583"/>
                      <a:pt x="187" y="583"/>
                    </a:cubicBezTo>
                    <a:cubicBezTo>
                      <a:pt x="183" y="584"/>
                      <a:pt x="178" y="584"/>
                      <a:pt x="174" y="584"/>
                    </a:cubicBezTo>
                    <a:cubicBezTo>
                      <a:pt x="171" y="595"/>
                      <a:pt x="155" y="577"/>
                      <a:pt x="148" y="574"/>
                    </a:cubicBezTo>
                    <a:cubicBezTo>
                      <a:pt x="145" y="573"/>
                      <a:pt x="140" y="572"/>
                      <a:pt x="140" y="572"/>
                    </a:cubicBezTo>
                    <a:cubicBezTo>
                      <a:pt x="133" y="573"/>
                      <a:pt x="126" y="571"/>
                      <a:pt x="120" y="574"/>
                    </a:cubicBezTo>
                    <a:cubicBezTo>
                      <a:pt x="118" y="575"/>
                      <a:pt x="116" y="580"/>
                      <a:pt x="116" y="580"/>
                    </a:cubicBezTo>
                    <a:cubicBezTo>
                      <a:pt x="114" y="589"/>
                      <a:pt x="117" y="579"/>
                      <a:pt x="106" y="586"/>
                    </a:cubicBezTo>
                    <a:cubicBezTo>
                      <a:pt x="103" y="589"/>
                      <a:pt x="99" y="595"/>
                      <a:pt x="97" y="596"/>
                    </a:cubicBezTo>
                    <a:cubicBezTo>
                      <a:pt x="104" y="591"/>
                      <a:pt x="100" y="591"/>
                      <a:pt x="92" y="590"/>
                    </a:cubicBezTo>
                    <a:cubicBezTo>
                      <a:pt x="83" y="587"/>
                      <a:pt x="75" y="586"/>
                      <a:pt x="66" y="585"/>
                    </a:cubicBezTo>
                    <a:cubicBezTo>
                      <a:pt x="59" y="586"/>
                      <a:pt x="56" y="588"/>
                      <a:pt x="49" y="590"/>
                    </a:cubicBezTo>
                    <a:cubicBezTo>
                      <a:pt x="47" y="591"/>
                      <a:pt x="43" y="592"/>
                      <a:pt x="43" y="592"/>
                    </a:cubicBezTo>
                    <a:cubicBezTo>
                      <a:pt x="39" y="596"/>
                      <a:pt x="37" y="598"/>
                      <a:pt x="34" y="603"/>
                    </a:cubicBezTo>
                    <a:cubicBezTo>
                      <a:pt x="19" y="601"/>
                      <a:pt x="22" y="595"/>
                      <a:pt x="8" y="594"/>
                    </a:cubicBezTo>
                    <a:cubicBezTo>
                      <a:pt x="2" y="596"/>
                      <a:pt x="3" y="600"/>
                      <a:pt x="0" y="592"/>
                    </a:cubicBezTo>
                    <a:cubicBezTo>
                      <a:pt x="4" y="590"/>
                      <a:pt x="7" y="589"/>
                      <a:pt x="12" y="588"/>
                    </a:cubicBezTo>
                    <a:cubicBezTo>
                      <a:pt x="24" y="582"/>
                      <a:pt x="18" y="584"/>
                      <a:pt x="40" y="583"/>
                    </a:cubicBezTo>
                    <a:cubicBezTo>
                      <a:pt x="45" y="564"/>
                      <a:pt x="44" y="571"/>
                      <a:pt x="58" y="562"/>
                    </a:cubicBezTo>
                    <a:cubicBezTo>
                      <a:pt x="63" y="555"/>
                      <a:pt x="60" y="557"/>
                      <a:pt x="65" y="554"/>
                    </a:cubicBezTo>
                    <a:cubicBezTo>
                      <a:pt x="68" y="548"/>
                      <a:pt x="76" y="545"/>
                      <a:pt x="82" y="543"/>
                    </a:cubicBezTo>
                    <a:cubicBezTo>
                      <a:pt x="85" y="540"/>
                      <a:pt x="86" y="537"/>
                      <a:pt x="89" y="534"/>
                    </a:cubicBezTo>
                    <a:cubicBezTo>
                      <a:pt x="91" y="525"/>
                      <a:pt x="107" y="530"/>
                      <a:pt x="114" y="530"/>
                    </a:cubicBezTo>
                    <a:cubicBezTo>
                      <a:pt x="116" y="531"/>
                      <a:pt x="118" y="534"/>
                      <a:pt x="120" y="535"/>
                    </a:cubicBezTo>
                    <a:cubicBezTo>
                      <a:pt x="122" y="536"/>
                      <a:pt x="128" y="537"/>
                      <a:pt x="128" y="537"/>
                    </a:cubicBezTo>
                    <a:cubicBezTo>
                      <a:pt x="155" y="535"/>
                      <a:pt x="148" y="523"/>
                      <a:pt x="162" y="518"/>
                    </a:cubicBezTo>
                    <a:cubicBezTo>
                      <a:pt x="165" y="514"/>
                      <a:pt x="168" y="511"/>
                      <a:pt x="172" y="508"/>
                    </a:cubicBezTo>
                    <a:cubicBezTo>
                      <a:pt x="174" y="507"/>
                      <a:pt x="178" y="504"/>
                      <a:pt x="178" y="504"/>
                    </a:cubicBezTo>
                    <a:cubicBezTo>
                      <a:pt x="179" y="503"/>
                      <a:pt x="181" y="502"/>
                      <a:pt x="180" y="501"/>
                    </a:cubicBezTo>
                    <a:cubicBezTo>
                      <a:pt x="175" y="498"/>
                      <a:pt x="164" y="507"/>
                      <a:pt x="164" y="507"/>
                    </a:cubicBezTo>
                    <a:cubicBezTo>
                      <a:pt x="159" y="512"/>
                      <a:pt x="157" y="511"/>
                      <a:pt x="149" y="512"/>
                    </a:cubicBezTo>
                    <a:cubicBezTo>
                      <a:pt x="146" y="513"/>
                      <a:pt x="140" y="516"/>
                      <a:pt x="140" y="516"/>
                    </a:cubicBezTo>
                    <a:cubicBezTo>
                      <a:pt x="136" y="518"/>
                      <a:pt x="127" y="519"/>
                      <a:pt x="127" y="519"/>
                    </a:cubicBezTo>
                    <a:cubicBezTo>
                      <a:pt x="121" y="517"/>
                      <a:pt x="122" y="512"/>
                      <a:pt x="118" y="508"/>
                    </a:cubicBezTo>
                    <a:cubicBezTo>
                      <a:pt x="108" y="498"/>
                      <a:pt x="97" y="502"/>
                      <a:pt x="91" y="501"/>
                    </a:cubicBezTo>
                    <a:cubicBezTo>
                      <a:pt x="86" y="498"/>
                      <a:pt x="95" y="490"/>
                      <a:pt x="90" y="487"/>
                    </a:cubicBezTo>
                    <a:cubicBezTo>
                      <a:pt x="86" y="484"/>
                      <a:pt x="75" y="483"/>
                      <a:pt x="70" y="484"/>
                    </a:cubicBezTo>
                    <a:cubicBezTo>
                      <a:pt x="63" y="489"/>
                      <a:pt x="60" y="491"/>
                      <a:pt x="58" y="482"/>
                    </a:cubicBezTo>
                    <a:cubicBezTo>
                      <a:pt x="52" y="458"/>
                      <a:pt x="55" y="464"/>
                      <a:pt x="88" y="460"/>
                    </a:cubicBezTo>
                    <a:cubicBezTo>
                      <a:pt x="94" y="458"/>
                      <a:pt x="96" y="449"/>
                      <a:pt x="101" y="448"/>
                    </a:cubicBezTo>
                    <a:cubicBezTo>
                      <a:pt x="105" y="447"/>
                      <a:pt x="112" y="445"/>
                      <a:pt x="112" y="445"/>
                    </a:cubicBezTo>
                    <a:cubicBezTo>
                      <a:pt x="115" y="441"/>
                      <a:pt x="115" y="436"/>
                      <a:pt x="118" y="432"/>
                    </a:cubicBezTo>
                    <a:cubicBezTo>
                      <a:pt x="120" y="423"/>
                      <a:pt x="121" y="417"/>
                      <a:pt x="118" y="406"/>
                    </a:cubicBezTo>
                    <a:cubicBezTo>
                      <a:pt x="117" y="404"/>
                      <a:pt x="112" y="404"/>
                      <a:pt x="112" y="404"/>
                    </a:cubicBezTo>
                    <a:cubicBezTo>
                      <a:pt x="105" y="406"/>
                      <a:pt x="99" y="409"/>
                      <a:pt x="92" y="410"/>
                    </a:cubicBezTo>
                    <a:cubicBezTo>
                      <a:pt x="91" y="405"/>
                      <a:pt x="90" y="404"/>
                      <a:pt x="95" y="402"/>
                    </a:cubicBezTo>
                    <a:cubicBezTo>
                      <a:pt x="99" y="398"/>
                      <a:pt x="115" y="392"/>
                      <a:pt x="122" y="390"/>
                    </a:cubicBezTo>
                    <a:cubicBezTo>
                      <a:pt x="129" y="385"/>
                      <a:pt x="126" y="387"/>
                      <a:pt x="131" y="385"/>
                    </a:cubicBezTo>
                    <a:cubicBezTo>
                      <a:pt x="144" y="385"/>
                      <a:pt x="148" y="385"/>
                      <a:pt x="161" y="381"/>
                    </a:cubicBezTo>
                    <a:cubicBezTo>
                      <a:pt x="167" y="380"/>
                      <a:pt x="172" y="390"/>
                      <a:pt x="174" y="388"/>
                    </a:cubicBezTo>
                    <a:cubicBezTo>
                      <a:pt x="176" y="386"/>
                      <a:pt x="173" y="375"/>
                      <a:pt x="174" y="369"/>
                    </a:cubicBezTo>
                    <a:cubicBezTo>
                      <a:pt x="175" y="363"/>
                      <a:pt x="176" y="357"/>
                      <a:pt x="179" y="352"/>
                    </a:cubicBezTo>
                    <a:cubicBezTo>
                      <a:pt x="180" y="345"/>
                      <a:pt x="193" y="336"/>
                      <a:pt x="193" y="336"/>
                    </a:cubicBezTo>
                    <a:cubicBezTo>
                      <a:pt x="194" y="332"/>
                      <a:pt x="196" y="329"/>
                      <a:pt x="197" y="325"/>
                    </a:cubicBezTo>
                    <a:cubicBezTo>
                      <a:pt x="195" y="307"/>
                      <a:pt x="189" y="323"/>
                      <a:pt x="170" y="322"/>
                    </a:cubicBezTo>
                    <a:cubicBezTo>
                      <a:pt x="164" y="318"/>
                      <a:pt x="160" y="308"/>
                      <a:pt x="158" y="301"/>
                    </a:cubicBezTo>
                    <a:cubicBezTo>
                      <a:pt x="162" y="290"/>
                      <a:pt x="167" y="280"/>
                      <a:pt x="179" y="276"/>
                    </a:cubicBezTo>
                    <a:cubicBezTo>
                      <a:pt x="187" y="268"/>
                      <a:pt x="186" y="270"/>
                      <a:pt x="170" y="266"/>
                    </a:cubicBezTo>
                    <a:cubicBezTo>
                      <a:pt x="157" y="267"/>
                      <a:pt x="147" y="271"/>
                      <a:pt x="134" y="272"/>
                    </a:cubicBezTo>
                    <a:cubicBezTo>
                      <a:pt x="128" y="272"/>
                      <a:pt x="120" y="274"/>
                      <a:pt x="115" y="270"/>
                    </a:cubicBezTo>
                    <a:cubicBezTo>
                      <a:pt x="109" y="266"/>
                      <a:pt x="108" y="258"/>
                      <a:pt x="103" y="254"/>
                    </a:cubicBezTo>
                    <a:cubicBezTo>
                      <a:pt x="107" y="246"/>
                      <a:pt x="113" y="243"/>
                      <a:pt x="122" y="240"/>
                    </a:cubicBezTo>
                    <a:cubicBezTo>
                      <a:pt x="125" y="236"/>
                      <a:pt x="126" y="233"/>
                      <a:pt x="130" y="230"/>
                    </a:cubicBezTo>
                    <a:cubicBezTo>
                      <a:pt x="134" y="222"/>
                      <a:pt x="133" y="202"/>
                      <a:pt x="127" y="194"/>
                    </a:cubicBezTo>
                    <a:cubicBezTo>
                      <a:pt x="124" y="190"/>
                      <a:pt x="124" y="201"/>
                      <a:pt x="120" y="198"/>
                    </a:cubicBezTo>
                    <a:cubicBezTo>
                      <a:pt x="118" y="197"/>
                      <a:pt x="124" y="177"/>
                      <a:pt x="124" y="177"/>
                    </a:cubicBezTo>
                    <a:cubicBezTo>
                      <a:pt x="123" y="173"/>
                      <a:pt x="85" y="223"/>
                      <a:pt x="85" y="223"/>
                    </a:cubicBezTo>
                    <a:cubicBezTo>
                      <a:pt x="87" y="212"/>
                      <a:pt x="101" y="156"/>
                      <a:pt x="110" y="153"/>
                    </a:cubicBezTo>
                    <a:cubicBezTo>
                      <a:pt x="117" y="146"/>
                      <a:pt x="115" y="152"/>
                      <a:pt x="118" y="145"/>
                    </a:cubicBezTo>
                    <a:cubicBezTo>
                      <a:pt x="119" y="138"/>
                      <a:pt x="125" y="137"/>
                      <a:pt x="127" y="130"/>
                    </a:cubicBezTo>
                    <a:cubicBezTo>
                      <a:pt x="122" y="121"/>
                      <a:pt x="106" y="142"/>
                      <a:pt x="97" y="145"/>
                    </a:cubicBezTo>
                    <a:cubicBezTo>
                      <a:pt x="94" y="148"/>
                      <a:pt x="81" y="142"/>
                      <a:pt x="78" y="146"/>
                    </a:cubicBezTo>
                    <a:cubicBezTo>
                      <a:pt x="73" y="139"/>
                      <a:pt x="76" y="129"/>
                      <a:pt x="84" y="123"/>
                    </a:cubicBezTo>
                    <a:cubicBezTo>
                      <a:pt x="88" y="120"/>
                      <a:pt x="92" y="118"/>
                      <a:pt x="97" y="116"/>
                    </a:cubicBezTo>
                    <a:cubicBezTo>
                      <a:pt x="98" y="116"/>
                      <a:pt x="100" y="115"/>
                      <a:pt x="100" y="115"/>
                    </a:cubicBezTo>
                    <a:cubicBezTo>
                      <a:pt x="103" y="110"/>
                      <a:pt x="110" y="109"/>
                      <a:pt x="115" y="105"/>
                    </a:cubicBezTo>
                    <a:cubicBezTo>
                      <a:pt x="118" y="102"/>
                      <a:pt x="124" y="97"/>
                      <a:pt x="124" y="97"/>
                    </a:cubicBezTo>
                    <a:cubicBezTo>
                      <a:pt x="127" y="87"/>
                      <a:pt x="129" y="77"/>
                      <a:pt x="122" y="67"/>
                    </a:cubicBezTo>
                    <a:cubicBezTo>
                      <a:pt x="120" y="60"/>
                      <a:pt x="124" y="62"/>
                      <a:pt x="127" y="56"/>
                    </a:cubicBezTo>
                    <a:cubicBezTo>
                      <a:pt x="136" y="38"/>
                      <a:pt x="125" y="46"/>
                      <a:pt x="152" y="36"/>
                    </a:cubicBezTo>
                    <a:cubicBezTo>
                      <a:pt x="154" y="24"/>
                      <a:pt x="155" y="21"/>
                      <a:pt x="160" y="12"/>
                    </a:cubicBezTo>
                    <a:cubicBezTo>
                      <a:pt x="163" y="8"/>
                      <a:pt x="170" y="0"/>
                      <a:pt x="170" y="0"/>
                    </a:cubicBezTo>
                    <a:cubicBezTo>
                      <a:pt x="176" y="2"/>
                      <a:pt x="180" y="2"/>
                      <a:pt x="185" y="7"/>
                    </a:cubicBezTo>
                    <a:lnTo>
                      <a:pt x="174" y="3"/>
                    </a:ln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sp>
            <p:nvSpPr>
              <p:cNvPr id="32" name="Freeform 124"/>
              <p:cNvSpPr>
                <a:spLocks noChangeAspect="1"/>
              </p:cNvSpPr>
              <p:nvPr/>
            </p:nvSpPr>
            <p:spPr bwMode="auto">
              <a:xfrm>
                <a:off x="164" y="4091"/>
                <a:ext cx="84" cy="108"/>
              </a:xfrm>
              <a:custGeom>
                <a:avLst/>
                <a:gdLst/>
                <a:ahLst/>
                <a:cxnLst>
                  <a:cxn ang="0">
                    <a:pos x="6" y="7"/>
                  </a:cxn>
                  <a:cxn ang="0">
                    <a:pos x="9" y="27"/>
                  </a:cxn>
                  <a:cxn ang="0">
                    <a:pos x="14" y="0"/>
                  </a:cxn>
                  <a:cxn ang="0">
                    <a:pos x="9" y="1"/>
                  </a:cxn>
                  <a:cxn ang="0">
                    <a:pos x="6" y="7"/>
                  </a:cxn>
                </a:cxnLst>
                <a:rect l="0" t="0" r="r" b="b"/>
                <a:pathLst>
                  <a:path w="21" h="27">
                    <a:moveTo>
                      <a:pt x="6" y="7"/>
                    </a:moveTo>
                    <a:cubicBezTo>
                      <a:pt x="4" y="18"/>
                      <a:pt x="0" y="21"/>
                      <a:pt x="9" y="27"/>
                    </a:cubicBezTo>
                    <a:cubicBezTo>
                      <a:pt x="21" y="23"/>
                      <a:pt x="18" y="12"/>
                      <a:pt x="14" y="0"/>
                    </a:cubicBezTo>
                    <a:cubicBezTo>
                      <a:pt x="12" y="0"/>
                      <a:pt x="10" y="0"/>
                      <a:pt x="9" y="1"/>
                    </a:cubicBezTo>
                    <a:cubicBezTo>
                      <a:pt x="7" y="2"/>
                      <a:pt x="6" y="7"/>
                      <a:pt x="6" y="7"/>
                    </a:cubicBez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sp>
            <p:nvSpPr>
              <p:cNvPr id="33" name="Freeform 125"/>
              <p:cNvSpPr>
                <a:spLocks noChangeAspect="1"/>
              </p:cNvSpPr>
              <p:nvPr/>
            </p:nvSpPr>
            <p:spPr bwMode="auto">
              <a:xfrm>
                <a:off x="587" y="5655"/>
                <a:ext cx="96" cy="52"/>
              </a:xfrm>
              <a:custGeom>
                <a:avLst/>
                <a:gdLst/>
                <a:ahLst/>
                <a:cxnLst>
                  <a:cxn ang="0">
                    <a:pos x="0" y="0"/>
                  </a:cxn>
                  <a:cxn ang="0">
                    <a:pos x="12" y="8"/>
                  </a:cxn>
                  <a:cxn ang="0">
                    <a:pos x="3" y="11"/>
                  </a:cxn>
                  <a:cxn ang="0">
                    <a:pos x="0" y="0"/>
                  </a:cxn>
                </a:cxnLst>
                <a:rect l="0" t="0" r="r" b="b"/>
                <a:pathLst>
                  <a:path w="24" h="13">
                    <a:moveTo>
                      <a:pt x="0" y="0"/>
                    </a:moveTo>
                    <a:cubicBezTo>
                      <a:pt x="7" y="4"/>
                      <a:pt x="24" y="0"/>
                      <a:pt x="12" y="8"/>
                    </a:cubicBezTo>
                    <a:cubicBezTo>
                      <a:pt x="9" y="12"/>
                      <a:pt x="8" y="13"/>
                      <a:pt x="3" y="11"/>
                    </a:cubicBezTo>
                    <a:cubicBezTo>
                      <a:pt x="2" y="3"/>
                      <a:pt x="3" y="6"/>
                      <a:pt x="0" y="0"/>
                    </a:cubicBez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sp>
            <p:nvSpPr>
              <p:cNvPr id="34" name="Freeform 126"/>
              <p:cNvSpPr>
                <a:spLocks noChangeAspect="1"/>
              </p:cNvSpPr>
              <p:nvPr/>
            </p:nvSpPr>
            <p:spPr bwMode="auto">
              <a:xfrm>
                <a:off x="-347" y="4175"/>
                <a:ext cx="451" cy="376"/>
              </a:xfrm>
              <a:custGeom>
                <a:avLst/>
                <a:gdLst/>
                <a:ahLst/>
                <a:cxnLst>
                  <a:cxn ang="0">
                    <a:pos x="303" y="376"/>
                  </a:cxn>
                  <a:cxn ang="0">
                    <a:pos x="399" y="352"/>
                  </a:cxn>
                  <a:cxn ang="0">
                    <a:pos x="439" y="340"/>
                  </a:cxn>
                  <a:cxn ang="0">
                    <a:pos x="451" y="280"/>
                  </a:cxn>
                  <a:cxn ang="0">
                    <a:pos x="395" y="216"/>
                  </a:cxn>
                  <a:cxn ang="0">
                    <a:pos x="407" y="196"/>
                  </a:cxn>
                  <a:cxn ang="0">
                    <a:pos x="407" y="96"/>
                  </a:cxn>
                  <a:cxn ang="0">
                    <a:pos x="259" y="24"/>
                  </a:cxn>
                  <a:cxn ang="0">
                    <a:pos x="199" y="48"/>
                  </a:cxn>
                  <a:cxn ang="0">
                    <a:pos x="174" y="54"/>
                  </a:cxn>
                  <a:cxn ang="0">
                    <a:pos x="152" y="90"/>
                  </a:cxn>
                  <a:cxn ang="0">
                    <a:pos x="83" y="124"/>
                  </a:cxn>
                  <a:cxn ang="0">
                    <a:pos x="60" y="165"/>
                  </a:cxn>
                  <a:cxn ang="0">
                    <a:pos x="12" y="178"/>
                  </a:cxn>
                  <a:cxn ang="0">
                    <a:pos x="24" y="219"/>
                  </a:cxn>
                  <a:cxn ang="0">
                    <a:pos x="83" y="268"/>
                  </a:cxn>
                  <a:cxn ang="0">
                    <a:pos x="105" y="298"/>
                  </a:cxn>
                  <a:cxn ang="0">
                    <a:pos x="144" y="298"/>
                  </a:cxn>
                  <a:cxn ang="0">
                    <a:pos x="179" y="248"/>
                  </a:cxn>
                  <a:cxn ang="0">
                    <a:pos x="228" y="322"/>
                  </a:cxn>
                  <a:cxn ang="0">
                    <a:pos x="258" y="351"/>
                  </a:cxn>
                  <a:cxn ang="0">
                    <a:pos x="303" y="376"/>
                  </a:cxn>
                </a:cxnLst>
                <a:rect l="0" t="0" r="r" b="b"/>
                <a:pathLst>
                  <a:path w="451" h="376">
                    <a:moveTo>
                      <a:pt x="303" y="376"/>
                    </a:moveTo>
                    <a:cubicBezTo>
                      <a:pt x="335" y="368"/>
                      <a:pt x="367" y="360"/>
                      <a:pt x="399" y="352"/>
                    </a:cubicBezTo>
                    <a:cubicBezTo>
                      <a:pt x="411" y="348"/>
                      <a:pt x="439" y="340"/>
                      <a:pt x="439" y="340"/>
                    </a:cubicBezTo>
                    <a:cubicBezTo>
                      <a:pt x="443" y="320"/>
                      <a:pt x="447" y="304"/>
                      <a:pt x="451" y="280"/>
                    </a:cubicBezTo>
                    <a:cubicBezTo>
                      <a:pt x="447" y="232"/>
                      <a:pt x="443" y="224"/>
                      <a:pt x="395" y="216"/>
                    </a:cubicBezTo>
                    <a:cubicBezTo>
                      <a:pt x="375" y="204"/>
                      <a:pt x="391" y="204"/>
                      <a:pt x="407" y="196"/>
                    </a:cubicBezTo>
                    <a:cubicBezTo>
                      <a:pt x="431" y="164"/>
                      <a:pt x="427" y="132"/>
                      <a:pt x="407" y="96"/>
                    </a:cubicBezTo>
                    <a:cubicBezTo>
                      <a:pt x="391" y="0"/>
                      <a:pt x="351" y="32"/>
                      <a:pt x="259" y="24"/>
                    </a:cubicBezTo>
                    <a:cubicBezTo>
                      <a:pt x="239" y="32"/>
                      <a:pt x="219" y="36"/>
                      <a:pt x="199" y="48"/>
                    </a:cubicBezTo>
                    <a:cubicBezTo>
                      <a:pt x="186" y="51"/>
                      <a:pt x="182" y="47"/>
                      <a:pt x="174" y="54"/>
                    </a:cubicBezTo>
                    <a:cubicBezTo>
                      <a:pt x="156" y="64"/>
                      <a:pt x="164" y="78"/>
                      <a:pt x="152" y="90"/>
                    </a:cubicBezTo>
                    <a:cubicBezTo>
                      <a:pt x="140" y="117"/>
                      <a:pt x="116" y="124"/>
                      <a:pt x="83" y="124"/>
                    </a:cubicBezTo>
                    <a:cubicBezTo>
                      <a:pt x="79" y="140"/>
                      <a:pt x="72" y="156"/>
                      <a:pt x="60" y="165"/>
                    </a:cubicBezTo>
                    <a:cubicBezTo>
                      <a:pt x="48" y="161"/>
                      <a:pt x="30" y="171"/>
                      <a:pt x="12" y="178"/>
                    </a:cubicBezTo>
                    <a:cubicBezTo>
                      <a:pt x="0" y="178"/>
                      <a:pt x="20" y="207"/>
                      <a:pt x="24" y="219"/>
                    </a:cubicBezTo>
                    <a:cubicBezTo>
                      <a:pt x="38" y="232"/>
                      <a:pt x="59" y="244"/>
                      <a:pt x="83" y="268"/>
                    </a:cubicBezTo>
                    <a:cubicBezTo>
                      <a:pt x="99" y="284"/>
                      <a:pt x="89" y="282"/>
                      <a:pt x="105" y="298"/>
                    </a:cubicBezTo>
                    <a:cubicBezTo>
                      <a:pt x="122" y="300"/>
                      <a:pt x="126" y="303"/>
                      <a:pt x="144" y="298"/>
                    </a:cubicBezTo>
                    <a:cubicBezTo>
                      <a:pt x="148" y="278"/>
                      <a:pt x="159" y="256"/>
                      <a:pt x="179" y="248"/>
                    </a:cubicBezTo>
                    <a:cubicBezTo>
                      <a:pt x="215" y="256"/>
                      <a:pt x="191" y="300"/>
                      <a:pt x="228" y="322"/>
                    </a:cubicBezTo>
                    <a:cubicBezTo>
                      <a:pt x="242" y="338"/>
                      <a:pt x="246" y="342"/>
                      <a:pt x="258" y="351"/>
                    </a:cubicBezTo>
                    <a:cubicBezTo>
                      <a:pt x="270" y="360"/>
                      <a:pt x="291" y="351"/>
                      <a:pt x="303" y="376"/>
                    </a:cubicBezTo>
                    <a:close/>
                  </a:path>
                </a:pathLst>
              </a:custGeom>
              <a:grpFill/>
              <a:ln w="3175" cap="flat" cmpd="sng">
                <a:solidFill>
                  <a:sysClr val="window" lastClr="FFFFFF"/>
                </a:solidFill>
                <a:prstDash val="solid"/>
                <a:round/>
                <a:headEnd/>
                <a:tailEnd/>
              </a:ln>
              <a:effectLst/>
            </p:spPr>
            <p:txBody>
              <a:bodyPr wrap="none" lIns="0" tIns="0" rIns="0" bIns="0" anchor="ctr"/>
              <a:lstStyle/>
              <a:p>
                <a:pPr defTabSz="972993" fontAlgn="auto">
                  <a:spcBef>
                    <a:spcPts val="0"/>
                  </a:spcBef>
                  <a:spcAft>
                    <a:spcPts val="0"/>
                  </a:spcAft>
                  <a:defRPr/>
                </a:pPr>
                <a:endParaRPr lang="fr-FR" sz="1900">
                  <a:solidFill>
                    <a:prstClr val="black"/>
                  </a:solidFill>
                  <a:latin typeface="Arial"/>
                </a:endParaRPr>
              </a:p>
            </p:txBody>
          </p:sp>
        </p:grpSp>
        <p:sp>
          <p:nvSpPr>
            <p:cNvPr id="37914" name="Line 144"/>
            <p:cNvSpPr>
              <a:spLocks noChangeShapeType="1"/>
            </p:cNvSpPr>
            <p:nvPr>
              <p:custDataLst>
                <p:tags r:id="rId12"/>
              </p:custDataLst>
            </p:nvPr>
          </p:nvSpPr>
          <p:spPr bwMode="auto">
            <a:xfrm>
              <a:off x="2054981" y="3884819"/>
              <a:ext cx="296958" cy="98986"/>
            </a:xfrm>
            <a:prstGeom prst="line">
              <a:avLst/>
            </a:prstGeom>
            <a:noFill/>
            <a:ln w="9525">
              <a:solidFill>
                <a:srgbClr val="FFFFFF"/>
              </a:solidFill>
              <a:round/>
              <a:headEnd/>
              <a:tailEnd/>
            </a:ln>
          </p:spPr>
          <p:txBody>
            <a:bodyPr lIns="0" tIns="0" rIns="0" bIns="0"/>
            <a:lstStyle/>
            <a:p>
              <a:endParaRPr lang="en-US"/>
            </a:p>
          </p:txBody>
        </p:sp>
        <p:cxnSp>
          <p:nvCxnSpPr>
            <p:cNvPr id="17" name="Connecteur droit avec flèche 125"/>
            <p:cNvCxnSpPr/>
            <p:nvPr/>
          </p:nvCxnSpPr>
          <p:spPr>
            <a:xfrm flipV="1">
              <a:off x="2174713" y="4934153"/>
              <a:ext cx="288731" cy="215132"/>
            </a:xfrm>
            <a:prstGeom prst="straightConnector1">
              <a:avLst/>
            </a:prstGeom>
            <a:ln w="28575">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8" name="Connecteur droit avec flèche 128"/>
            <p:cNvCxnSpPr/>
            <p:nvPr/>
          </p:nvCxnSpPr>
          <p:spPr>
            <a:xfrm>
              <a:off x="2090744" y="4466404"/>
              <a:ext cx="216549" cy="143421"/>
            </a:xfrm>
            <a:prstGeom prst="straightConnector1">
              <a:avLst/>
            </a:prstGeom>
            <a:ln w="28575">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19" name="Connecteur droit avec flèche 131"/>
            <p:cNvCxnSpPr/>
            <p:nvPr/>
          </p:nvCxnSpPr>
          <p:spPr>
            <a:xfrm rot="5400000">
              <a:off x="2331729" y="4057406"/>
              <a:ext cx="288472" cy="1473"/>
            </a:xfrm>
            <a:prstGeom prst="straightConnector1">
              <a:avLst/>
            </a:prstGeom>
            <a:ln w="28575">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20" name="Connecteur droit avec flèche 133"/>
            <p:cNvCxnSpPr/>
            <p:nvPr/>
          </p:nvCxnSpPr>
          <p:spPr>
            <a:xfrm rot="5400000" flipH="1" flipV="1">
              <a:off x="1815244" y="4694602"/>
              <a:ext cx="215132" cy="215075"/>
            </a:xfrm>
            <a:prstGeom prst="straightConnector1">
              <a:avLst/>
            </a:prstGeom>
            <a:ln w="28575">
              <a:solidFill>
                <a:srgbClr val="0070C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21" name="Connecteur droit avec flèche 135"/>
            <p:cNvCxnSpPr/>
            <p:nvPr/>
          </p:nvCxnSpPr>
          <p:spPr>
            <a:xfrm rot="10800000">
              <a:off x="1561896" y="4525076"/>
              <a:ext cx="251903" cy="228170"/>
            </a:xfrm>
            <a:prstGeom prst="straightConnector1">
              <a:avLst/>
            </a:prstGeom>
            <a:ln w="28575">
              <a:solidFill>
                <a:srgbClr val="0070C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22" name="Connecteur droit avec flèche 140"/>
            <p:cNvCxnSpPr/>
            <p:nvPr/>
          </p:nvCxnSpPr>
          <p:spPr>
            <a:xfrm rot="10800000">
              <a:off x="1635552" y="4381655"/>
              <a:ext cx="431623" cy="145052"/>
            </a:xfrm>
            <a:prstGeom prst="straightConnector1">
              <a:avLst/>
            </a:prstGeom>
            <a:ln w="28575">
              <a:solidFill>
                <a:srgbClr val="FFC00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23" name="Connecteur droit avec flèche 143"/>
            <p:cNvCxnSpPr/>
            <p:nvPr/>
          </p:nvCxnSpPr>
          <p:spPr>
            <a:xfrm rot="5400000" flipH="1" flipV="1">
              <a:off x="1766861" y="3829562"/>
              <a:ext cx="1007209" cy="191505"/>
            </a:xfrm>
            <a:prstGeom prst="straightConnector1">
              <a:avLst/>
            </a:prstGeom>
            <a:ln w="28575">
              <a:solidFill>
                <a:srgbClr val="FFC000"/>
              </a:solidFill>
              <a:headEnd type="arrow"/>
              <a:tailEnd type="arrow"/>
            </a:ln>
          </p:spPr>
          <p:style>
            <a:lnRef idx="1">
              <a:schemeClr val="accent1"/>
            </a:lnRef>
            <a:fillRef idx="0">
              <a:schemeClr val="accent1"/>
            </a:fillRef>
            <a:effectRef idx="0">
              <a:schemeClr val="accent1"/>
            </a:effectRef>
            <a:fontRef idx="minor">
              <a:schemeClr val="tx1"/>
            </a:fontRef>
          </p:style>
        </p:cxnSp>
      </p:grpSp>
      <p:sp>
        <p:nvSpPr>
          <p:cNvPr id="60" name="Rectangle 152"/>
          <p:cNvSpPr/>
          <p:nvPr/>
        </p:nvSpPr>
        <p:spPr>
          <a:xfrm>
            <a:off x="4244975" y="4816475"/>
            <a:ext cx="4325938" cy="1609725"/>
          </a:xfrm>
          <a:prstGeom prst="rect">
            <a:avLst/>
          </a:prstGeom>
          <a:ln/>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p>
        </p:txBody>
      </p:sp>
      <p:sp>
        <p:nvSpPr>
          <p:cNvPr id="61" name="Rectangle 152"/>
          <p:cNvSpPr/>
          <p:nvPr/>
        </p:nvSpPr>
        <p:spPr>
          <a:xfrm>
            <a:off x="4244975" y="4816475"/>
            <a:ext cx="4325938" cy="1609725"/>
          </a:xfrm>
          <a:prstGeom prst="rect">
            <a:avLst/>
          </a:prstGeom>
          <a:ln/>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p>
        </p:txBody>
      </p:sp>
      <p:sp>
        <p:nvSpPr>
          <p:cNvPr id="62" name="Rectangle 152"/>
          <p:cNvSpPr/>
          <p:nvPr/>
        </p:nvSpPr>
        <p:spPr>
          <a:xfrm>
            <a:off x="4244975" y="4816475"/>
            <a:ext cx="4325938" cy="1609725"/>
          </a:xfrm>
          <a:prstGeom prst="rect">
            <a:avLst/>
          </a:prstGeom>
          <a:ln/>
        </p:spPr>
        <p:style>
          <a:lnRef idx="1">
            <a:schemeClr val="accent1"/>
          </a:lnRef>
          <a:fillRef idx="2">
            <a:schemeClr val="accent1"/>
          </a:fillRef>
          <a:effectRef idx="1">
            <a:schemeClr val="accent1"/>
          </a:effectRef>
          <a:fontRef idx="minor">
            <a:schemeClr val="dk1"/>
          </a:fontRef>
        </p:style>
        <p:txBody>
          <a:bodyPr anchor="ctr"/>
          <a:lstStyle/>
          <a:p>
            <a:pPr algn="ctr">
              <a:defRPr/>
            </a:pPr>
            <a:endParaRPr lang="en-GB"/>
          </a:p>
        </p:txBody>
      </p:sp>
      <p:cxnSp>
        <p:nvCxnSpPr>
          <p:cNvPr id="63" name="Connecteur droit avec flèche 126"/>
          <p:cNvCxnSpPr/>
          <p:nvPr/>
        </p:nvCxnSpPr>
        <p:spPr>
          <a:xfrm>
            <a:off x="4440238" y="5013325"/>
            <a:ext cx="431800" cy="1588"/>
          </a:xfrm>
          <a:prstGeom prst="straightConnector1">
            <a:avLst/>
          </a:prstGeom>
          <a:ln w="28575">
            <a:solidFill>
              <a:srgbClr val="FF000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64" name="Connecteur droit avec flèche 138"/>
          <p:cNvCxnSpPr/>
          <p:nvPr/>
        </p:nvCxnSpPr>
        <p:spPr>
          <a:xfrm>
            <a:off x="4440238" y="5510213"/>
            <a:ext cx="431800" cy="1587"/>
          </a:xfrm>
          <a:prstGeom prst="straightConnector1">
            <a:avLst/>
          </a:prstGeom>
          <a:ln w="28575">
            <a:solidFill>
              <a:srgbClr val="00B05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65" name="Connecteur droit avec flèche 139"/>
          <p:cNvCxnSpPr/>
          <p:nvPr/>
        </p:nvCxnSpPr>
        <p:spPr>
          <a:xfrm>
            <a:off x="4440238" y="5875338"/>
            <a:ext cx="431800" cy="1587"/>
          </a:xfrm>
          <a:prstGeom prst="straightConnector1">
            <a:avLst/>
          </a:prstGeom>
          <a:ln w="28575">
            <a:solidFill>
              <a:srgbClr val="0070C0"/>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66" name="Connecteur droit avec flèche 147"/>
          <p:cNvCxnSpPr/>
          <p:nvPr/>
        </p:nvCxnSpPr>
        <p:spPr>
          <a:xfrm>
            <a:off x="4440238" y="6200775"/>
            <a:ext cx="431800" cy="1588"/>
          </a:xfrm>
          <a:prstGeom prst="straightConnector1">
            <a:avLst/>
          </a:prstGeom>
          <a:ln w="28575">
            <a:solidFill>
              <a:srgbClr val="FFC000"/>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37899" name="ZoneTexte 148"/>
          <p:cNvSpPr txBox="1">
            <a:spLocks noChangeArrowheads="1"/>
          </p:cNvSpPr>
          <p:nvPr/>
        </p:nvSpPr>
        <p:spPr bwMode="auto">
          <a:xfrm>
            <a:off x="5016500" y="4849813"/>
            <a:ext cx="3981450" cy="523875"/>
          </a:xfrm>
          <a:prstGeom prst="rect">
            <a:avLst/>
          </a:prstGeom>
          <a:noFill/>
          <a:ln w="9525">
            <a:noFill/>
            <a:miter lim="800000"/>
            <a:headEnd/>
            <a:tailEnd/>
          </a:ln>
        </p:spPr>
        <p:txBody>
          <a:bodyPr>
            <a:spAutoFit/>
          </a:bodyPr>
          <a:lstStyle/>
          <a:p>
            <a:r>
              <a:rPr lang="en-GB" sz="1400" dirty="0">
                <a:cs typeface="Arial" charset="0"/>
              </a:rPr>
              <a:t>Implicit and explicit continuous </a:t>
            </a:r>
          </a:p>
          <a:p>
            <a:r>
              <a:rPr lang="en-GB" sz="1400" dirty="0">
                <a:cs typeface="Arial" charset="0"/>
              </a:rPr>
              <a:t>capacity allocation</a:t>
            </a:r>
          </a:p>
        </p:txBody>
      </p:sp>
      <p:sp>
        <p:nvSpPr>
          <p:cNvPr id="37900" name="ZoneTexte 149"/>
          <p:cNvSpPr txBox="1">
            <a:spLocks noChangeArrowheads="1"/>
          </p:cNvSpPr>
          <p:nvPr/>
        </p:nvSpPr>
        <p:spPr bwMode="auto">
          <a:xfrm>
            <a:off x="5016500" y="5348288"/>
            <a:ext cx="3981450" cy="307975"/>
          </a:xfrm>
          <a:prstGeom prst="rect">
            <a:avLst/>
          </a:prstGeom>
          <a:noFill/>
          <a:ln w="9525">
            <a:noFill/>
            <a:miter lim="800000"/>
            <a:headEnd/>
            <a:tailEnd/>
          </a:ln>
        </p:spPr>
        <p:txBody>
          <a:bodyPr>
            <a:spAutoFit/>
          </a:bodyPr>
          <a:lstStyle/>
          <a:p>
            <a:r>
              <a:rPr lang="en-GB" sz="1400">
                <a:cs typeface="Arial" charset="0"/>
              </a:rPr>
              <a:t>Explicit continuous capacity allocation</a:t>
            </a:r>
          </a:p>
        </p:txBody>
      </p:sp>
      <p:sp>
        <p:nvSpPr>
          <p:cNvPr id="37901" name="ZoneTexte 150"/>
          <p:cNvSpPr txBox="1">
            <a:spLocks noChangeArrowheads="1"/>
          </p:cNvSpPr>
          <p:nvPr/>
        </p:nvSpPr>
        <p:spPr bwMode="auto">
          <a:xfrm>
            <a:off x="5016500" y="5713413"/>
            <a:ext cx="3981450" cy="307975"/>
          </a:xfrm>
          <a:prstGeom prst="rect">
            <a:avLst/>
          </a:prstGeom>
          <a:noFill/>
          <a:ln w="9525">
            <a:noFill/>
            <a:miter lim="800000"/>
            <a:headEnd/>
            <a:tailEnd/>
          </a:ln>
        </p:spPr>
        <p:txBody>
          <a:bodyPr>
            <a:spAutoFit/>
          </a:bodyPr>
          <a:lstStyle/>
          <a:p>
            <a:r>
              <a:rPr lang="en-GB" sz="1400">
                <a:cs typeface="Arial" charset="0"/>
              </a:rPr>
              <a:t>Explicit capacity allocation </a:t>
            </a:r>
          </a:p>
        </p:txBody>
      </p:sp>
      <p:sp>
        <p:nvSpPr>
          <p:cNvPr id="37902" name="ZoneTexte 151"/>
          <p:cNvSpPr txBox="1">
            <a:spLocks noChangeArrowheads="1"/>
          </p:cNvSpPr>
          <p:nvPr/>
        </p:nvSpPr>
        <p:spPr bwMode="auto">
          <a:xfrm>
            <a:off x="5016500" y="6038850"/>
            <a:ext cx="3981450" cy="307975"/>
          </a:xfrm>
          <a:prstGeom prst="rect">
            <a:avLst/>
          </a:prstGeom>
          <a:noFill/>
          <a:ln w="9525">
            <a:noFill/>
            <a:miter lim="800000"/>
            <a:headEnd/>
            <a:tailEnd/>
          </a:ln>
        </p:spPr>
        <p:txBody>
          <a:bodyPr>
            <a:spAutoFit/>
          </a:bodyPr>
          <a:lstStyle/>
          <a:p>
            <a:r>
              <a:rPr lang="en-GB" sz="1400">
                <a:cs typeface="Arial" charset="0"/>
              </a:rPr>
              <a:t>No capacity allocation </a:t>
            </a:r>
          </a:p>
        </p:txBody>
      </p:sp>
      <p:sp>
        <p:nvSpPr>
          <p:cNvPr id="73" name="Rectangle 155"/>
          <p:cNvSpPr/>
          <p:nvPr/>
        </p:nvSpPr>
        <p:spPr>
          <a:xfrm>
            <a:off x="4405337" y="2669217"/>
            <a:ext cx="4427537" cy="1112837"/>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587693" lvl="1" indent="-285750">
              <a:spcBef>
                <a:spcPts val="1200"/>
              </a:spcBef>
              <a:buSzPct val="100000"/>
              <a:buFont typeface="Arial" pitchFamily="34" charset="0"/>
              <a:buChar char="•"/>
              <a:defRPr/>
            </a:pPr>
            <a:r>
              <a:rPr lang="en-GB" dirty="0">
                <a:solidFill>
                  <a:schemeClr val="tx1"/>
                </a:solidFill>
                <a:latin typeface="Tw Cen MT" pitchFamily="34" charset="0"/>
              </a:rPr>
              <a:t>The local / multi-party projects will aim to change the current capacity allocation mechanism on several NWE borders into an </a:t>
            </a:r>
            <a:r>
              <a:rPr lang="en-GB" dirty="0" err="1">
                <a:solidFill>
                  <a:schemeClr val="tx1"/>
                </a:solidFill>
                <a:latin typeface="Tw Cen MT" pitchFamily="34" charset="0"/>
              </a:rPr>
              <a:t>Elbas</a:t>
            </a:r>
            <a:r>
              <a:rPr lang="en-GB" dirty="0">
                <a:solidFill>
                  <a:schemeClr val="tx1"/>
                </a:solidFill>
                <a:latin typeface="Tw Cen MT" pitchFamily="34" charset="0"/>
              </a:rPr>
              <a:t>-like mechanism</a:t>
            </a:r>
          </a:p>
          <a:p>
            <a:pPr marL="587693" lvl="1" indent="-285750">
              <a:spcBef>
                <a:spcPts val="1800"/>
              </a:spcBef>
              <a:buSzPct val="100000"/>
              <a:buFont typeface="Arial" pitchFamily="34" charset="0"/>
              <a:buChar char="•"/>
              <a:defRPr/>
            </a:pPr>
            <a:r>
              <a:rPr lang="en-US" dirty="0">
                <a:solidFill>
                  <a:schemeClr val="tx1"/>
                </a:solidFill>
                <a:latin typeface="Tw Cen MT" pitchFamily="34" charset="0"/>
              </a:rPr>
              <a:t>Open to other borders or regions when ready</a:t>
            </a:r>
          </a:p>
          <a:p>
            <a:pPr marL="301943" lvl="1">
              <a:spcBef>
                <a:spcPts val="600"/>
              </a:spcBef>
              <a:buClr>
                <a:srgbClr val="31B6FD"/>
              </a:buClr>
              <a:buSzPct val="100000"/>
              <a:defRPr/>
            </a:pPr>
            <a:endParaRPr lang="en-GB" sz="1600" dirty="0">
              <a:solidFill>
                <a:srgbClr val="073E87"/>
              </a:solidFill>
              <a:latin typeface="Arial" pitchFamily="34" charset="0"/>
              <a:cs typeface="Arial" pitchFamily="34" charset="0"/>
            </a:endParaRPr>
          </a:p>
        </p:txBody>
      </p:sp>
      <p:sp>
        <p:nvSpPr>
          <p:cNvPr id="2" name="Textfeld 1"/>
          <p:cNvSpPr txBox="1"/>
          <p:nvPr/>
        </p:nvSpPr>
        <p:spPr>
          <a:xfrm>
            <a:off x="4211960" y="4458598"/>
            <a:ext cx="3063329" cy="338554"/>
          </a:xfrm>
          <a:prstGeom prst="rect">
            <a:avLst/>
          </a:prstGeom>
          <a:noFill/>
        </p:spPr>
        <p:txBody>
          <a:bodyPr wrap="square" rtlCol="0">
            <a:spAutoFit/>
          </a:bodyPr>
          <a:lstStyle/>
          <a:p>
            <a:r>
              <a:rPr lang="de-DE" sz="1600" dirty="0" err="1">
                <a:latin typeface="Tw Cen MT" pitchFamily="34" charset="0"/>
              </a:rPr>
              <a:t>Current</a:t>
            </a:r>
            <a:r>
              <a:rPr lang="de-DE" sz="1600" dirty="0">
                <a:latin typeface="Tw Cen MT" pitchFamily="34" charset="0"/>
              </a:rPr>
              <a:t> </a:t>
            </a:r>
            <a:r>
              <a:rPr lang="de-DE" sz="1600" dirty="0" err="1">
                <a:latin typeface="Tw Cen MT" pitchFamily="34" charset="0"/>
              </a:rPr>
              <a:t>allocation</a:t>
            </a:r>
            <a:r>
              <a:rPr lang="de-DE" sz="1600" dirty="0">
                <a:latin typeface="Tw Cen MT" pitchFamily="34" charset="0"/>
              </a:rPr>
              <a:t> </a:t>
            </a:r>
            <a:r>
              <a:rPr lang="de-DE" sz="1600" dirty="0" err="1">
                <a:latin typeface="Tw Cen MT" pitchFamily="34" charset="0"/>
              </a:rPr>
              <a:t>schemes</a:t>
            </a:r>
            <a:r>
              <a:rPr lang="de-DE" sz="1600" i="1" dirty="0" smtClean="0">
                <a:solidFill>
                  <a:srgbClr val="00B050"/>
                </a:solidFill>
                <a:latin typeface="Tw Cen MT" pitchFamily="34" charset="0"/>
              </a:rPr>
              <a:t>:</a:t>
            </a:r>
            <a:endParaRPr lang="de-DE" sz="1600" i="1" dirty="0">
              <a:solidFill>
                <a:srgbClr val="FF0000"/>
              </a:solidFill>
              <a:latin typeface="Tw Cen MT"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bNw8cV8.0OsTq4_jSwud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Io2owoY9ke4n.4.j47J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dN7zFFzZ06Ul9yBqu5tD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WYFd9VeRUWZaONrDUTms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NYEcrNHi0GwFO5rzF0H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OCjHKii.E.ZbLbEHbmi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8WiWUZVs0e8rkDErqgW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QcSZYm1qEyerYbw01NU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g88tnJAzEOiMe42j80Q5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qPeFCIk_0yRZrmuUhpzQ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q4ewRv6pEyU3hsejmSS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W.SMzZokEaT3V9.Y7B3XQ"/>
</p:tagLst>
</file>

<file path=ppt/theme/theme1.xml><?xml version="1.0" encoding="utf-8"?>
<a:theme xmlns:a="http://schemas.openxmlformats.org/drawingml/2006/main" name="Conception personnalisé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Default Design">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ACER_Abstract xmlns="985daa2e-53d8-4475-82b8-9c7d25324e34"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09D3A013ACDC743B74B02691E7F66BD" ma:contentTypeVersion="20" ma:contentTypeDescription="Create a new document." ma:contentTypeScope="" ma:versionID="7ee0a728b17214e7b4e0d9c30fda96d2">
  <xsd:schema xmlns:xsd="http://www.w3.org/2001/XMLSchema" xmlns:xs="http://www.w3.org/2001/XMLSchema" xmlns:p="http://schemas.microsoft.com/office/2006/metadata/properties" xmlns:ns2="985daa2e-53d8-4475-82b8-9c7d25324e34" targetNamespace="http://schemas.microsoft.com/office/2006/metadata/properties" ma:root="true" ma:fieldsID="87577735a49fbbb1e880d92c7652797e" ns2:_="">
    <xsd:import namespace="985daa2e-53d8-4475-82b8-9c7d25324e34"/>
    <xsd:element name="properties">
      <xsd:complexType>
        <xsd:sequence>
          <xsd:element name="documentManagement">
            <xsd:complexType>
              <xsd:all>
                <xsd:element ref="ns2:_dlc_DocId" minOccurs="0"/>
                <xsd:element ref="ns2:_dlc_DocIdUrl" minOccurs="0"/>
                <xsd:element ref="ns2:_dlc_DocIdPersistId" minOccurs="0"/>
                <xsd:element ref="ns2:ACER_Abstrac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5daa2e-53d8-4475-82b8-9c7d25324e34"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ACER_Abstract" ma:index="11" nillable="true" ma:displayName="Abstract" ma:description="" ma:internalName="ACER_Abstract">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Receiver>
    <Name>DocumentWithSurveyEventReceiver</Name>
    <Synchronization>Asynchronous</Synchronization>
    <Type>10002</Type>
    <SequenceNumber>11001</SequenceNumber>
    <Assembly>Acer.DocSurvey.DataModel, Version=1.0.0.0, Culture=neutral, PublicKeyToken=4521b098f10fe6ff</Assembly>
    <Class>Acer.DocSurvey.DataModel.EventReceivers.DocumentWithSurveyEventReceiv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CC3A0BD-BB26-470D-AD1D-FCF94F425816}"/>
</file>

<file path=customXml/itemProps2.xml><?xml version="1.0" encoding="utf-8"?>
<ds:datastoreItem xmlns:ds="http://schemas.openxmlformats.org/officeDocument/2006/customXml" ds:itemID="{8CCE7C7C-455F-4588-A7BC-10FFB1060FC9}"/>
</file>

<file path=customXml/itemProps3.xml><?xml version="1.0" encoding="utf-8"?>
<ds:datastoreItem xmlns:ds="http://schemas.openxmlformats.org/officeDocument/2006/customXml" ds:itemID="{3C9973F5-3955-4C1D-A1C4-2CC631AD7A99}"/>
</file>

<file path=customXml/itemProps4.xml><?xml version="1.0" encoding="utf-8"?>
<ds:datastoreItem xmlns:ds="http://schemas.openxmlformats.org/officeDocument/2006/customXml" ds:itemID="{D2C464D3-6686-4963-990C-74052416A5E4}"/>
</file>

<file path=docProps/app.xml><?xml version="1.0" encoding="utf-8"?>
<Properties xmlns="http://schemas.openxmlformats.org/officeDocument/2006/extended-properties" xmlns:vt="http://schemas.openxmlformats.org/officeDocument/2006/docPropsVTypes">
  <TotalTime>0</TotalTime>
  <Words>860</Words>
  <Application>Microsoft Office PowerPoint</Application>
  <PresentationFormat>Bildschirmpräsentation (4:3)</PresentationFormat>
  <Paragraphs>175</Paragraphs>
  <Slides>12</Slides>
  <Notes>12</Notes>
  <HiddenSlides>0</HiddenSlides>
  <MMClips>0</MMClips>
  <ScaleCrop>false</ScaleCrop>
  <HeadingPairs>
    <vt:vector size="4" baseType="variant">
      <vt:variant>
        <vt:lpstr>Design</vt:lpstr>
      </vt:variant>
      <vt:variant>
        <vt:i4>2</vt:i4>
      </vt:variant>
      <vt:variant>
        <vt:lpstr>Folientitel</vt:lpstr>
      </vt:variant>
      <vt:variant>
        <vt:i4>12</vt:i4>
      </vt:variant>
    </vt:vector>
  </HeadingPairs>
  <TitlesOfParts>
    <vt:vector size="14" baseType="lpstr">
      <vt:lpstr>Conception personnalisée</vt:lpstr>
      <vt:lpstr>1_Default Desig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National Gri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acity Pricing</dc:title>
  <dc:creator>IM</dc:creator>
  <cp:lastModifiedBy>C10633</cp:lastModifiedBy>
  <cp:revision>345</cp:revision>
  <dcterms:created xsi:type="dcterms:W3CDTF">2011-03-09T12:04:07Z</dcterms:created>
  <dcterms:modified xsi:type="dcterms:W3CDTF">2011-12-05T09:1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9D3A013ACDC743B74B02691E7F66BD</vt:lpwstr>
  </property>
</Properties>
</file>